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7.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tags/tag8.xml" ContentType="application/vnd.openxmlformats-officedocument.presentationml.tags+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2.xml" ContentType="application/vnd.openxmlformats-officedocument.themeOverride+xml"/>
  <Override PartName="/ppt/drawings/drawing1.xml" ContentType="application/vnd.openxmlformats-officedocument.drawingml.chartshapes+xml"/>
  <Override PartName="/ppt/tags/tag9.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1"/>
  </p:sldMasterIdLst>
  <p:notesMasterIdLst>
    <p:notesMasterId r:id="rId20"/>
  </p:notesMasterIdLst>
  <p:handoutMasterIdLst>
    <p:handoutMasterId r:id="rId21"/>
  </p:handoutMasterIdLst>
  <p:sldIdLst>
    <p:sldId id="259" r:id="rId12"/>
    <p:sldId id="4090" r:id="rId13"/>
    <p:sldId id="4091" r:id="rId14"/>
    <p:sldId id="4092" r:id="rId15"/>
    <p:sldId id="4094" r:id="rId16"/>
    <p:sldId id="4095" r:id="rId17"/>
    <p:sldId id="4093" r:id="rId18"/>
    <p:sldId id="260" r:id="rId19"/>
  </p:sldIdLst>
  <p:sldSz cx="12192000" cy="6858000"/>
  <p:notesSz cx="6858000" cy="9144000"/>
  <p:custDataLst>
    <p:custData r:id="rId6"/>
    <p:custData r:id="rId5"/>
    <p:custData r:id="rId4"/>
    <p:custData r:id="rId8"/>
    <p:custData r:id="rId7"/>
    <p:custData r:id="rId10"/>
    <p:custData r:id="rId9"/>
    <p:tags r:id="rId22"/>
  </p:custDataLst>
  <p:defaultTextStyle>
    <a:defPPr>
      <a:defRPr lang="en-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E7EEF1"/>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F9529FB-F7F1-4122-B7C4-D901D1AFE0D1}">
  <a:tblStyle styleId="{BF9529FB-F7F1-4122-B7C4-D901D1AFE0D1}" styleName="RBC Light Gray">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CA949A42-8534-413A-A760-ABA5BDE51491}" styleName="RBC Tundra">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9894" autoAdjust="0"/>
  </p:normalViewPr>
  <p:slideViewPr>
    <p:cSldViewPr snapToGrid="0">
      <p:cViewPr varScale="1">
        <p:scale>
          <a:sx n="102" d="100"/>
          <a:sy n="102" d="100"/>
        </p:scale>
        <p:origin x="894" y="114"/>
      </p:cViewPr>
      <p:guideLst/>
    </p:cSldViewPr>
  </p:slideViewPr>
  <p:notesTextViewPr>
    <p:cViewPr>
      <p:scale>
        <a:sx n="1" d="1"/>
        <a:sy n="1" d="1"/>
      </p:scale>
      <p:origin x="0" y="0"/>
    </p:cViewPr>
  </p:notesTextViewPr>
  <p:sorterViewPr>
    <p:cViewPr>
      <p:scale>
        <a:sx n="66" d="100"/>
        <a:sy n="66" d="100"/>
      </p:scale>
      <p:origin x="0" y="0"/>
    </p:cViewPr>
  </p:sorterViewPr>
  <p:notesViewPr>
    <p:cSldViewPr snapToGrid="0" showGuides="1">
      <p:cViewPr varScale="1">
        <p:scale>
          <a:sx n="87" d="100"/>
          <a:sy n="87" d="100"/>
        </p:scale>
        <p:origin x="3112" y="2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customXml" Target="../customXml/item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presProps" Target="presProps.xml"/><Relationship Id="rId10" Type="http://schemas.openxmlformats.org/officeDocument/2006/relationships/customXml" Target="../customXml/item10.xml"/><Relationship Id="rId19" Type="http://schemas.openxmlformats.org/officeDocument/2006/relationships/slide" Target="slides/slide8.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4.xml"/><Relationship Id="rId1" Type="http://schemas.microsoft.com/office/2011/relationships/chartStyle" Target="style4.xml"/><Relationship Id="rId5" Type="http://schemas.openxmlformats.org/officeDocument/2006/relationships/chartUserShapes" Target="../drawings/drawing1.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ysClr val="windowText" lastClr="000000"/>
                </a:solidFill>
                <a:latin typeface="+mn-lt"/>
                <a:ea typeface="+mn-ea"/>
                <a:cs typeface="+mn-cs"/>
              </a:defRPr>
            </a:pPr>
            <a:r>
              <a:rPr lang="en-US" sz="1600" b="1" dirty="0">
                <a:solidFill>
                  <a:sysClr val="windowText" lastClr="000000"/>
                </a:solidFill>
              </a:rPr>
              <a:t>BOC Policy interest rate and</a:t>
            </a:r>
            <a:r>
              <a:rPr lang="en-US" sz="1600" b="1" baseline="0" dirty="0">
                <a:solidFill>
                  <a:sysClr val="windowText" lastClr="000000"/>
                </a:solidFill>
              </a:rPr>
              <a:t> the prime rate</a:t>
            </a:r>
            <a:endParaRPr lang="en-US" sz="1600" b="1" dirty="0">
              <a:solidFill>
                <a:sysClr val="windowText" lastClr="000000"/>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ysClr val="windowText" lastClr="000000"/>
              </a:solidFill>
              <a:latin typeface="+mn-lt"/>
              <a:ea typeface="+mn-ea"/>
              <a:cs typeface="+mn-cs"/>
            </a:defRPr>
          </a:pPr>
          <a:endParaRPr lang="en-US"/>
        </a:p>
      </c:txPr>
    </c:title>
    <c:autoTitleDeleted val="0"/>
    <c:plotArea>
      <c:layout>
        <c:manualLayout>
          <c:layoutTarget val="inner"/>
          <c:xMode val="edge"/>
          <c:yMode val="edge"/>
          <c:x val="3.2977792323932095E-2"/>
          <c:y val="0.15446761996174499"/>
          <c:w val="0.92707852721712425"/>
          <c:h val="0.78704442277959963"/>
        </c:manualLayout>
      </c:layout>
      <c:lineChart>
        <c:grouping val="standard"/>
        <c:varyColors val="0"/>
        <c:ser>
          <c:idx val="0"/>
          <c:order val="0"/>
          <c:tx>
            <c:strRef>
              <c:f>'Prime-Rate-History-wowa'!$C$2</c:f>
              <c:strCache>
                <c:ptCount val="1"/>
                <c:pt idx="0">
                  <c:v>Prime Rate</c:v>
                </c:pt>
              </c:strCache>
            </c:strRef>
          </c:tx>
          <c:spPr>
            <a:ln w="28575" cap="rnd">
              <a:solidFill>
                <a:schemeClr val="accent1"/>
              </a:solidFill>
              <a:round/>
            </a:ln>
            <a:effectLst/>
          </c:spPr>
          <c:marker>
            <c:symbol val="none"/>
          </c:marker>
          <c:dLbls>
            <c:dLbl>
              <c:idx val="241"/>
              <c:tx>
                <c:rich>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fld id="{0ACC4507-5998-424C-A788-3263BF11BF56}" type="VALUE">
                      <a:rPr lang="en-US" b="1" smtClean="0">
                        <a:solidFill>
                          <a:schemeClr val="tx1"/>
                        </a:solidFill>
                      </a:rPr>
                      <a:pPr>
                        <a:defRPr b="1">
                          <a:solidFill>
                            <a:schemeClr val="tx1"/>
                          </a:solidFill>
                        </a:defRPr>
                      </a:pPr>
                      <a:t>[VALUE]</a:t>
                    </a:fld>
                    <a:r>
                      <a:rPr lang="en-US" b="1" dirty="0">
                        <a:solidFill>
                          <a:schemeClr val="tx1"/>
                        </a:solidFill>
                      </a:rPr>
                      <a:t>%</a:t>
                    </a:r>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CAA0-4B8E-82E6-F5E5587EE2F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rime-Rate-History-wowa'!$B$3:$B$806</c:f>
              <c:numCache>
                <c:formatCode>mmm\-yy</c:formatCode>
                <c:ptCount val="242"/>
                <c:pt idx="0">
                  <c:v>38261</c:v>
                </c:pt>
                <c:pt idx="1">
                  <c:v>38292</c:v>
                </c:pt>
                <c:pt idx="2">
                  <c:v>38322</c:v>
                </c:pt>
                <c:pt idx="3">
                  <c:v>38353</c:v>
                </c:pt>
                <c:pt idx="4">
                  <c:v>38384</c:v>
                </c:pt>
                <c:pt idx="5">
                  <c:v>38412</c:v>
                </c:pt>
                <c:pt idx="6">
                  <c:v>38443</c:v>
                </c:pt>
                <c:pt idx="7">
                  <c:v>38473</c:v>
                </c:pt>
                <c:pt idx="8">
                  <c:v>38504</c:v>
                </c:pt>
                <c:pt idx="9">
                  <c:v>38534</c:v>
                </c:pt>
                <c:pt idx="10">
                  <c:v>38565</c:v>
                </c:pt>
                <c:pt idx="11">
                  <c:v>38596</c:v>
                </c:pt>
                <c:pt idx="12">
                  <c:v>38626</c:v>
                </c:pt>
                <c:pt idx="13">
                  <c:v>38657</c:v>
                </c:pt>
                <c:pt idx="14">
                  <c:v>38687</c:v>
                </c:pt>
                <c:pt idx="15">
                  <c:v>38718</c:v>
                </c:pt>
                <c:pt idx="16">
                  <c:v>38749</c:v>
                </c:pt>
                <c:pt idx="17">
                  <c:v>38777</c:v>
                </c:pt>
                <c:pt idx="18">
                  <c:v>38808</c:v>
                </c:pt>
                <c:pt idx="19">
                  <c:v>38838</c:v>
                </c:pt>
                <c:pt idx="20">
                  <c:v>38869</c:v>
                </c:pt>
                <c:pt idx="21">
                  <c:v>38899</c:v>
                </c:pt>
                <c:pt idx="22">
                  <c:v>38930</c:v>
                </c:pt>
                <c:pt idx="23">
                  <c:v>38961</c:v>
                </c:pt>
                <c:pt idx="24">
                  <c:v>38991</c:v>
                </c:pt>
                <c:pt idx="25">
                  <c:v>39022</c:v>
                </c:pt>
                <c:pt idx="26">
                  <c:v>39052</c:v>
                </c:pt>
                <c:pt idx="27">
                  <c:v>39083</c:v>
                </c:pt>
                <c:pt idx="28">
                  <c:v>39114</c:v>
                </c:pt>
                <c:pt idx="29">
                  <c:v>39142</c:v>
                </c:pt>
                <c:pt idx="30">
                  <c:v>39173</c:v>
                </c:pt>
                <c:pt idx="31">
                  <c:v>39203</c:v>
                </c:pt>
                <c:pt idx="32">
                  <c:v>39234</c:v>
                </c:pt>
                <c:pt idx="33">
                  <c:v>39264</c:v>
                </c:pt>
                <c:pt idx="34">
                  <c:v>39295</c:v>
                </c:pt>
                <c:pt idx="35">
                  <c:v>39326</c:v>
                </c:pt>
                <c:pt idx="36">
                  <c:v>39356</c:v>
                </c:pt>
                <c:pt idx="37">
                  <c:v>39387</c:v>
                </c:pt>
                <c:pt idx="38">
                  <c:v>39417</c:v>
                </c:pt>
                <c:pt idx="39">
                  <c:v>39448</c:v>
                </c:pt>
                <c:pt idx="40">
                  <c:v>39479</c:v>
                </c:pt>
                <c:pt idx="41">
                  <c:v>39508</c:v>
                </c:pt>
                <c:pt idx="42">
                  <c:v>39539</c:v>
                </c:pt>
                <c:pt idx="43">
                  <c:v>39569</c:v>
                </c:pt>
                <c:pt idx="44">
                  <c:v>39600</c:v>
                </c:pt>
                <c:pt idx="45">
                  <c:v>39630</c:v>
                </c:pt>
                <c:pt idx="46">
                  <c:v>39661</c:v>
                </c:pt>
                <c:pt idx="47">
                  <c:v>39692</c:v>
                </c:pt>
                <c:pt idx="48">
                  <c:v>39722</c:v>
                </c:pt>
                <c:pt idx="49">
                  <c:v>39753</c:v>
                </c:pt>
                <c:pt idx="50">
                  <c:v>39783</c:v>
                </c:pt>
                <c:pt idx="51">
                  <c:v>39814</c:v>
                </c:pt>
                <c:pt idx="52">
                  <c:v>39845</c:v>
                </c:pt>
                <c:pt idx="53">
                  <c:v>39873</c:v>
                </c:pt>
                <c:pt idx="54">
                  <c:v>39904</c:v>
                </c:pt>
                <c:pt idx="55">
                  <c:v>39934</c:v>
                </c:pt>
                <c:pt idx="56">
                  <c:v>39965</c:v>
                </c:pt>
                <c:pt idx="57">
                  <c:v>39995</c:v>
                </c:pt>
                <c:pt idx="58">
                  <c:v>40026</c:v>
                </c:pt>
                <c:pt idx="59">
                  <c:v>40057</c:v>
                </c:pt>
                <c:pt idx="60">
                  <c:v>40087</c:v>
                </c:pt>
                <c:pt idx="61">
                  <c:v>40118</c:v>
                </c:pt>
                <c:pt idx="62">
                  <c:v>40148</c:v>
                </c:pt>
                <c:pt idx="63">
                  <c:v>40179</c:v>
                </c:pt>
                <c:pt idx="64">
                  <c:v>40210</c:v>
                </c:pt>
                <c:pt idx="65">
                  <c:v>40238</c:v>
                </c:pt>
                <c:pt idx="66">
                  <c:v>40269</c:v>
                </c:pt>
                <c:pt idx="67">
                  <c:v>40299</c:v>
                </c:pt>
                <c:pt idx="68">
                  <c:v>40330</c:v>
                </c:pt>
                <c:pt idx="69">
                  <c:v>40360</c:v>
                </c:pt>
                <c:pt idx="70">
                  <c:v>40391</c:v>
                </c:pt>
                <c:pt idx="71">
                  <c:v>40422</c:v>
                </c:pt>
                <c:pt idx="72">
                  <c:v>40452</c:v>
                </c:pt>
                <c:pt idx="73">
                  <c:v>40483</c:v>
                </c:pt>
                <c:pt idx="74">
                  <c:v>40513</c:v>
                </c:pt>
                <c:pt idx="75">
                  <c:v>40544</c:v>
                </c:pt>
                <c:pt idx="76">
                  <c:v>40575</c:v>
                </c:pt>
                <c:pt idx="77">
                  <c:v>40603</c:v>
                </c:pt>
                <c:pt idx="78">
                  <c:v>40634</c:v>
                </c:pt>
                <c:pt idx="79">
                  <c:v>40664</c:v>
                </c:pt>
                <c:pt idx="80">
                  <c:v>40695</c:v>
                </c:pt>
                <c:pt idx="81">
                  <c:v>40725</c:v>
                </c:pt>
                <c:pt idx="82">
                  <c:v>40756</c:v>
                </c:pt>
                <c:pt idx="83">
                  <c:v>40787</c:v>
                </c:pt>
                <c:pt idx="84">
                  <c:v>40817</c:v>
                </c:pt>
                <c:pt idx="85">
                  <c:v>40848</c:v>
                </c:pt>
                <c:pt idx="86">
                  <c:v>40878</c:v>
                </c:pt>
                <c:pt idx="87">
                  <c:v>40909</c:v>
                </c:pt>
                <c:pt idx="88">
                  <c:v>40940</c:v>
                </c:pt>
                <c:pt idx="89">
                  <c:v>40969</c:v>
                </c:pt>
                <c:pt idx="90">
                  <c:v>41000</c:v>
                </c:pt>
                <c:pt idx="91">
                  <c:v>41030</c:v>
                </c:pt>
                <c:pt idx="92">
                  <c:v>41061</c:v>
                </c:pt>
                <c:pt idx="93">
                  <c:v>41091</c:v>
                </c:pt>
                <c:pt idx="94">
                  <c:v>41122</c:v>
                </c:pt>
                <c:pt idx="95">
                  <c:v>41153</c:v>
                </c:pt>
                <c:pt idx="96">
                  <c:v>41183</c:v>
                </c:pt>
                <c:pt idx="97">
                  <c:v>41214</c:v>
                </c:pt>
                <c:pt idx="98">
                  <c:v>41244</c:v>
                </c:pt>
                <c:pt idx="99">
                  <c:v>41275</c:v>
                </c:pt>
                <c:pt idx="100">
                  <c:v>41306</c:v>
                </c:pt>
                <c:pt idx="101">
                  <c:v>41334</c:v>
                </c:pt>
                <c:pt idx="102">
                  <c:v>41365</c:v>
                </c:pt>
                <c:pt idx="103">
                  <c:v>41395</c:v>
                </c:pt>
                <c:pt idx="104">
                  <c:v>41426</c:v>
                </c:pt>
                <c:pt idx="105">
                  <c:v>41456</c:v>
                </c:pt>
                <c:pt idx="106">
                  <c:v>41487</c:v>
                </c:pt>
                <c:pt idx="107">
                  <c:v>41518</c:v>
                </c:pt>
                <c:pt idx="108">
                  <c:v>41548</c:v>
                </c:pt>
                <c:pt idx="109">
                  <c:v>41579</c:v>
                </c:pt>
                <c:pt idx="110">
                  <c:v>41609</c:v>
                </c:pt>
                <c:pt idx="111">
                  <c:v>41640</c:v>
                </c:pt>
                <c:pt idx="112">
                  <c:v>41671</c:v>
                </c:pt>
                <c:pt idx="113">
                  <c:v>41699</c:v>
                </c:pt>
                <c:pt idx="114">
                  <c:v>41730</c:v>
                </c:pt>
                <c:pt idx="115">
                  <c:v>41760</c:v>
                </c:pt>
                <c:pt idx="116">
                  <c:v>41791</c:v>
                </c:pt>
                <c:pt idx="117">
                  <c:v>41821</c:v>
                </c:pt>
                <c:pt idx="118">
                  <c:v>41852</c:v>
                </c:pt>
                <c:pt idx="119">
                  <c:v>41883</c:v>
                </c:pt>
                <c:pt idx="120">
                  <c:v>41913</c:v>
                </c:pt>
                <c:pt idx="121">
                  <c:v>41944</c:v>
                </c:pt>
                <c:pt idx="122">
                  <c:v>41974</c:v>
                </c:pt>
                <c:pt idx="123">
                  <c:v>42005</c:v>
                </c:pt>
                <c:pt idx="124">
                  <c:v>42036</c:v>
                </c:pt>
                <c:pt idx="125">
                  <c:v>42064</c:v>
                </c:pt>
                <c:pt idx="126">
                  <c:v>42095</c:v>
                </c:pt>
                <c:pt idx="127">
                  <c:v>42125</c:v>
                </c:pt>
                <c:pt idx="128">
                  <c:v>42156</c:v>
                </c:pt>
                <c:pt idx="129">
                  <c:v>42186</c:v>
                </c:pt>
                <c:pt idx="130">
                  <c:v>42217</c:v>
                </c:pt>
                <c:pt idx="131">
                  <c:v>42248</c:v>
                </c:pt>
                <c:pt idx="132">
                  <c:v>42278</c:v>
                </c:pt>
                <c:pt idx="133">
                  <c:v>42309</c:v>
                </c:pt>
                <c:pt idx="134">
                  <c:v>42339</c:v>
                </c:pt>
                <c:pt idx="135">
                  <c:v>42370</c:v>
                </c:pt>
                <c:pt idx="136">
                  <c:v>42401</c:v>
                </c:pt>
                <c:pt idx="137">
                  <c:v>42430</c:v>
                </c:pt>
                <c:pt idx="138">
                  <c:v>42461</c:v>
                </c:pt>
                <c:pt idx="139">
                  <c:v>42491</c:v>
                </c:pt>
                <c:pt idx="140">
                  <c:v>42522</c:v>
                </c:pt>
                <c:pt idx="141">
                  <c:v>42552</c:v>
                </c:pt>
                <c:pt idx="142">
                  <c:v>42583</c:v>
                </c:pt>
                <c:pt idx="143">
                  <c:v>42614</c:v>
                </c:pt>
                <c:pt idx="144">
                  <c:v>42644</c:v>
                </c:pt>
                <c:pt idx="145">
                  <c:v>42675</c:v>
                </c:pt>
                <c:pt idx="146">
                  <c:v>42705</c:v>
                </c:pt>
                <c:pt idx="147">
                  <c:v>42736</c:v>
                </c:pt>
                <c:pt idx="148">
                  <c:v>42767</c:v>
                </c:pt>
                <c:pt idx="149">
                  <c:v>42795</c:v>
                </c:pt>
                <c:pt idx="150">
                  <c:v>42826</c:v>
                </c:pt>
                <c:pt idx="151">
                  <c:v>42856</c:v>
                </c:pt>
                <c:pt idx="152">
                  <c:v>42887</c:v>
                </c:pt>
                <c:pt idx="153">
                  <c:v>42917</c:v>
                </c:pt>
                <c:pt idx="154">
                  <c:v>42948</c:v>
                </c:pt>
                <c:pt idx="155">
                  <c:v>42979</c:v>
                </c:pt>
                <c:pt idx="156">
                  <c:v>43009</c:v>
                </c:pt>
                <c:pt idx="157">
                  <c:v>43040</c:v>
                </c:pt>
                <c:pt idx="158">
                  <c:v>43070</c:v>
                </c:pt>
                <c:pt idx="159">
                  <c:v>43101</c:v>
                </c:pt>
                <c:pt idx="160">
                  <c:v>43132</c:v>
                </c:pt>
                <c:pt idx="161">
                  <c:v>43160</c:v>
                </c:pt>
                <c:pt idx="162">
                  <c:v>43191</c:v>
                </c:pt>
                <c:pt idx="163">
                  <c:v>43221</c:v>
                </c:pt>
                <c:pt idx="164">
                  <c:v>43252</c:v>
                </c:pt>
                <c:pt idx="165">
                  <c:v>43282</c:v>
                </c:pt>
                <c:pt idx="166">
                  <c:v>43313</c:v>
                </c:pt>
                <c:pt idx="167">
                  <c:v>43344</c:v>
                </c:pt>
                <c:pt idx="168">
                  <c:v>43374</c:v>
                </c:pt>
                <c:pt idx="169">
                  <c:v>43405</c:v>
                </c:pt>
                <c:pt idx="170">
                  <c:v>43435</c:v>
                </c:pt>
                <c:pt idx="171">
                  <c:v>43466</c:v>
                </c:pt>
                <c:pt idx="172">
                  <c:v>43497</c:v>
                </c:pt>
                <c:pt idx="173">
                  <c:v>43525</c:v>
                </c:pt>
                <c:pt idx="174">
                  <c:v>43556</c:v>
                </c:pt>
                <c:pt idx="175">
                  <c:v>43586</c:v>
                </c:pt>
                <c:pt idx="176">
                  <c:v>43617</c:v>
                </c:pt>
                <c:pt idx="177">
                  <c:v>43647</c:v>
                </c:pt>
                <c:pt idx="178">
                  <c:v>43678</c:v>
                </c:pt>
                <c:pt idx="179">
                  <c:v>43709</c:v>
                </c:pt>
                <c:pt idx="180">
                  <c:v>43739</c:v>
                </c:pt>
                <c:pt idx="181">
                  <c:v>43770</c:v>
                </c:pt>
                <c:pt idx="182">
                  <c:v>43800</c:v>
                </c:pt>
                <c:pt idx="183">
                  <c:v>43831</c:v>
                </c:pt>
                <c:pt idx="184">
                  <c:v>43862</c:v>
                </c:pt>
                <c:pt idx="185">
                  <c:v>43891</c:v>
                </c:pt>
                <c:pt idx="186">
                  <c:v>43922</c:v>
                </c:pt>
                <c:pt idx="187">
                  <c:v>43952</c:v>
                </c:pt>
                <c:pt idx="188">
                  <c:v>43983</c:v>
                </c:pt>
                <c:pt idx="189">
                  <c:v>44013</c:v>
                </c:pt>
                <c:pt idx="190">
                  <c:v>44044</c:v>
                </c:pt>
                <c:pt idx="191">
                  <c:v>44075</c:v>
                </c:pt>
                <c:pt idx="192">
                  <c:v>44105</c:v>
                </c:pt>
                <c:pt idx="193">
                  <c:v>44136</c:v>
                </c:pt>
                <c:pt idx="194">
                  <c:v>44166</c:v>
                </c:pt>
                <c:pt idx="195">
                  <c:v>44197</c:v>
                </c:pt>
                <c:pt idx="196">
                  <c:v>44228</c:v>
                </c:pt>
                <c:pt idx="197">
                  <c:v>44256</c:v>
                </c:pt>
                <c:pt idx="198">
                  <c:v>44287</c:v>
                </c:pt>
                <c:pt idx="199">
                  <c:v>44317</c:v>
                </c:pt>
                <c:pt idx="200">
                  <c:v>44348</c:v>
                </c:pt>
                <c:pt idx="201">
                  <c:v>44378</c:v>
                </c:pt>
                <c:pt idx="202">
                  <c:v>44409</c:v>
                </c:pt>
                <c:pt idx="203">
                  <c:v>44440</c:v>
                </c:pt>
                <c:pt idx="204">
                  <c:v>44470</c:v>
                </c:pt>
                <c:pt idx="205">
                  <c:v>44501</c:v>
                </c:pt>
                <c:pt idx="206">
                  <c:v>44531</c:v>
                </c:pt>
                <c:pt idx="207">
                  <c:v>44562</c:v>
                </c:pt>
                <c:pt idx="208">
                  <c:v>44593</c:v>
                </c:pt>
                <c:pt idx="209">
                  <c:v>44621</c:v>
                </c:pt>
                <c:pt idx="210">
                  <c:v>44652</c:v>
                </c:pt>
                <c:pt idx="211">
                  <c:v>44682</c:v>
                </c:pt>
                <c:pt idx="212">
                  <c:v>44713</c:v>
                </c:pt>
                <c:pt idx="213">
                  <c:v>44743</c:v>
                </c:pt>
                <c:pt idx="214">
                  <c:v>44774</c:v>
                </c:pt>
                <c:pt idx="215">
                  <c:v>44805</c:v>
                </c:pt>
                <c:pt idx="216">
                  <c:v>44835</c:v>
                </c:pt>
                <c:pt idx="217">
                  <c:v>44866</c:v>
                </c:pt>
                <c:pt idx="218">
                  <c:v>44896</c:v>
                </c:pt>
                <c:pt idx="219">
                  <c:v>44927</c:v>
                </c:pt>
                <c:pt idx="220">
                  <c:v>44958</c:v>
                </c:pt>
                <c:pt idx="221">
                  <c:v>44986</c:v>
                </c:pt>
                <c:pt idx="222">
                  <c:v>45017</c:v>
                </c:pt>
                <c:pt idx="223">
                  <c:v>45047</c:v>
                </c:pt>
                <c:pt idx="224">
                  <c:v>45078</c:v>
                </c:pt>
                <c:pt idx="225">
                  <c:v>45108</c:v>
                </c:pt>
                <c:pt idx="226">
                  <c:v>45139</c:v>
                </c:pt>
                <c:pt idx="227">
                  <c:v>45170</c:v>
                </c:pt>
                <c:pt idx="228">
                  <c:v>45200</c:v>
                </c:pt>
                <c:pt idx="229">
                  <c:v>45231</c:v>
                </c:pt>
                <c:pt idx="230">
                  <c:v>45261</c:v>
                </c:pt>
                <c:pt idx="231">
                  <c:v>45292</c:v>
                </c:pt>
                <c:pt idx="232">
                  <c:v>45323</c:v>
                </c:pt>
                <c:pt idx="233">
                  <c:v>45352</c:v>
                </c:pt>
                <c:pt idx="234">
                  <c:v>45383</c:v>
                </c:pt>
                <c:pt idx="235">
                  <c:v>45413</c:v>
                </c:pt>
                <c:pt idx="236">
                  <c:v>45444</c:v>
                </c:pt>
                <c:pt idx="237">
                  <c:v>45474</c:v>
                </c:pt>
                <c:pt idx="238">
                  <c:v>45505</c:v>
                </c:pt>
                <c:pt idx="239">
                  <c:v>45536</c:v>
                </c:pt>
                <c:pt idx="240">
                  <c:v>45566</c:v>
                </c:pt>
                <c:pt idx="241">
                  <c:v>45597</c:v>
                </c:pt>
              </c:numCache>
            </c:numRef>
          </c:cat>
          <c:val>
            <c:numRef>
              <c:f>'Prime-Rate-History-wowa'!$C$3:$C$806</c:f>
              <c:numCache>
                <c:formatCode>General</c:formatCode>
                <c:ptCount val="242"/>
                <c:pt idx="0">
                  <c:v>4.25</c:v>
                </c:pt>
                <c:pt idx="1">
                  <c:v>4.25</c:v>
                </c:pt>
                <c:pt idx="2">
                  <c:v>4.25</c:v>
                </c:pt>
                <c:pt idx="3">
                  <c:v>4.25</c:v>
                </c:pt>
                <c:pt idx="4">
                  <c:v>4.25</c:v>
                </c:pt>
                <c:pt idx="5">
                  <c:v>4.25</c:v>
                </c:pt>
                <c:pt idx="6">
                  <c:v>4.25</c:v>
                </c:pt>
                <c:pt idx="7">
                  <c:v>4.25</c:v>
                </c:pt>
                <c:pt idx="8">
                  <c:v>4.25</c:v>
                </c:pt>
                <c:pt idx="9">
                  <c:v>4.25</c:v>
                </c:pt>
                <c:pt idx="10">
                  <c:v>4.25</c:v>
                </c:pt>
                <c:pt idx="11">
                  <c:v>4.5</c:v>
                </c:pt>
                <c:pt idx="12">
                  <c:v>4.75</c:v>
                </c:pt>
                <c:pt idx="13">
                  <c:v>4.75</c:v>
                </c:pt>
                <c:pt idx="14">
                  <c:v>5</c:v>
                </c:pt>
                <c:pt idx="15">
                  <c:v>5.25</c:v>
                </c:pt>
                <c:pt idx="16">
                  <c:v>5.25</c:v>
                </c:pt>
                <c:pt idx="17">
                  <c:v>5.5</c:v>
                </c:pt>
                <c:pt idx="18">
                  <c:v>5.75</c:v>
                </c:pt>
                <c:pt idx="19">
                  <c:v>6</c:v>
                </c:pt>
                <c:pt idx="20">
                  <c:v>6</c:v>
                </c:pt>
                <c:pt idx="21">
                  <c:v>6</c:v>
                </c:pt>
                <c:pt idx="22">
                  <c:v>6</c:v>
                </c:pt>
                <c:pt idx="23">
                  <c:v>6</c:v>
                </c:pt>
                <c:pt idx="24">
                  <c:v>6</c:v>
                </c:pt>
                <c:pt idx="25">
                  <c:v>6</c:v>
                </c:pt>
                <c:pt idx="26">
                  <c:v>6</c:v>
                </c:pt>
                <c:pt idx="27">
                  <c:v>6</c:v>
                </c:pt>
                <c:pt idx="28">
                  <c:v>6</c:v>
                </c:pt>
                <c:pt idx="29">
                  <c:v>6</c:v>
                </c:pt>
                <c:pt idx="30">
                  <c:v>6</c:v>
                </c:pt>
                <c:pt idx="31">
                  <c:v>6</c:v>
                </c:pt>
                <c:pt idx="32">
                  <c:v>6</c:v>
                </c:pt>
                <c:pt idx="33">
                  <c:v>6.25</c:v>
                </c:pt>
                <c:pt idx="34">
                  <c:v>6.25</c:v>
                </c:pt>
                <c:pt idx="35">
                  <c:v>6.25</c:v>
                </c:pt>
                <c:pt idx="36">
                  <c:v>6.25</c:v>
                </c:pt>
                <c:pt idx="37">
                  <c:v>6.25</c:v>
                </c:pt>
                <c:pt idx="38">
                  <c:v>6</c:v>
                </c:pt>
                <c:pt idx="39">
                  <c:v>5.75</c:v>
                </c:pt>
                <c:pt idx="40">
                  <c:v>5.75</c:v>
                </c:pt>
                <c:pt idx="41">
                  <c:v>5.25</c:v>
                </c:pt>
                <c:pt idx="42">
                  <c:v>4.75</c:v>
                </c:pt>
                <c:pt idx="43">
                  <c:v>4.75</c:v>
                </c:pt>
                <c:pt idx="44">
                  <c:v>4.75</c:v>
                </c:pt>
                <c:pt idx="45">
                  <c:v>4.75</c:v>
                </c:pt>
                <c:pt idx="46">
                  <c:v>4.75</c:v>
                </c:pt>
                <c:pt idx="47">
                  <c:v>4.75</c:v>
                </c:pt>
                <c:pt idx="48">
                  <c:v>4</c:v>
                </c:pt>
                <c:pt idx="49">
                  <c:v>4</c:v>
                </c:pt>
                <c:pt idx="50">
                  <c:v>3.5</c:v>
                </c:pt>
                <c:pt idx="51">
                  <c:v>3</c:v>
                </c:pt>
                <c:pt idx="52">
                  <c:v>3</c:v>
                </c:pt>
                <c:pt idx="53">
                  <c:v>2.5</c:v>
                </c:pt>
                <c:pt idx="54">
                  <c:v>2.25</c:v>
                </c:pt>
                <c:pt idx="55">
                  <c:v>2.25</c:v>
                </c:pt>
                <c:pt idx="56">
                  <c:v>2.25</c:v>
                </c:pt>
                <c:pt idx="57">
                  <c:v>2.25</c:v>
                </c:pt>
                <c:pt idx="58">
                  <c:v>2.25</c:v>
                </c:pt>
                <c:pt idx="59">
                  <c:v>2.25</c:v>
                </c:pt>
                <c:pt idx="60">
                  <c:v>2.25</c:v>
                </c:pt>
                <c:pt idx="61">
                  <c:v>2.25</c:v>
                </c:pt>
                <c:pt idx="62">
                  <c:v>2.25</c:v>
                </c:pt>
                <c:pt idx="63">
                  <c:v>2.25</c:v>
                </c:pt>
                <c:pt idx="64">
                  <c:v>2.25</c:v>
                </c:pt>
                <c:pt idx="65">
                  <c:v>2.25</c:v>
                </c:pt>
                <c:pt idx="66">
                  <c:v>2.25</c:v>
                </c:pt>
                <c:pt idx="67">
                  <c:v>2.25</c:v>
                </c:pt>
                <c:pt idx="68">
                  <c:v>2.5</c:v>
                </c:pt>
                <c:pt idx="69">
                  <c:v>2.75</c:v>
                </c:pt>
                <c:pt idx="70">
                  <c:v>2.75</c:v>
                </c:pt>
                <c:pt idx="71">
                  <c:v>3</c:v>
                </c:pt>
                <c:pt idx="72">
                  <c:v>3</c:v>
                </c:pt>
                <c:pt idx="73">
                  <c:v>3</c:v>
                </c:pt>
                <c:pt idx="74">
                  <c:v>3</c:v>
                </c:pt>
                <c:pt idx="75">
                  <c:v>3</c:v>
                </c:pt>
                <c:pt idx="76">
                  <c:v>3</c:v>
                </c:pt>
                <c:pt idx="77">
                  <c:v>3</c:v>
                </c:pt>
                <c:pt idx="78">
                  <c:v>3</c:v>
                </c:pt>
                <c:pt idx="79">
                  <c:v>3</c:v>
                </c:pt>
                <c:pt idx="80">
                  <c:v>3</c:v>
                </c:pt>
                <c:pt idx="81">
                  <c:v>3</c:v>
                </c:pt>
                <c:pt idx="82">
                  <c:v>3</c:v>
                </c:pt>
                <c:pt idx="83">
                  <c:v>3</c:v>
                </c:pt>
                <c:pt idx="84">
                  <c:v>3</c:v>
                </c:pt>
                <c:pt idx="85">
                  <c:v>3</c:v>
                </c:pt>
                <c:pt idx="86">
                  <c:v>3</c:v>
                </c:pt>
                <c:pt idx="87">
                  <c:v>3</c:v>
                </c:pt>
                <c:pt idx="88">
                  <c:v>3</c:v>
                </c:pt>
                <c:pt idx="89">
                  <c:v>3</c:v>
                </c:pt>
                <c:pt idx="90">
                  <c:v>3</c:v>
                </c:pt>
                <c:pt idx="91">
                  <c:v>3</c:v>
                </c:pt>
                <c:pt idx="92">
                  <c:v>3</c:v>
                </c:pt>
                <c:pt idx="93">
                  <c:v>3</c:v>
                </c:pt>
                <c:pt idx="94">
                  <c:v>3</c:v>
                </c:pt>
                <c:pt idx="95">
                  <c:v>3</c:v>
                </c:pt>
                <c:pt idx="96">
                  <c:v>3</c:v>
                </c:pt>
                <c:pt idx="97">
                  <c:v>3</c:v>
                </c:pt>
                <c:pt idx="98">
                  <c:v>3</c:v>
                </c:pt>
                <c:pt idx="99">
                  <c:v>3</c:v>
                </c:pt>
                <c:pt idx="100">
                  <c:v>3</c:v>
                </c:pt>
                <c:pt idx="101">
                  <c:v>3</c:v>
                </c:pt>
                <c:pt idx="102">
                  <c:v>3</c:v>
                </c:pt>
                <c:pt idx="103">
                  <c:v>3</c:v>
                </c:pt>
                <c:pt idx="104">
                  <c:v>3</c:v>
                </c:pt>
                <c:pt idx="105">
                  <c:v>3</c:v>
                </c:pt>
                <c:pt idx="106">
                  <c:v>3</c:v>
                </c:pt>
                <c:pt idx="107">
                  <c:v>3</c:v>
                </c:pt>
                <c:pt idx="108">
                  <c:v>3</c:v>
                </c:pt>
                <c:pt idx="109">
                  <c:v>3</c:v>
                </c:pt>
                <c:pt idx="110">
                  <c:v>3</c:v>
                </c:pt>
                <c:pt idx="111">
                  <c:v>3</c:v>
                </c:pt>
                <c:pt idx="112">
                  <c:v>3</c:v>
                </c:pt>
                <c:pt idx="113">
                  <c:v>3</c:v>
                </c:pt>
                <c:pt idx="114">
                  <c:v>3</c:v>
                </c:pt>
                <c:pt idx="115">
                  <c:v>3</c:v>
                </c:pt>
                <c:pt idx="116">
                  <c:v>3</c:v>
                </c:pt>
                <c:pt idx="117">
                  <c:v>3</c:v>
                </c:pt>
                <c:pt idx="118">
                  <c:v>3</c:v>
                </c:pt>
                <c:pt idx="119">
                  <c:v>3</c:v>
                </c:pt>
                <c:pt idx="120">
                  <c:v>3</c:v>
                </c:pt>
                <c:pt idx="121">
                  <c:v>3</c:v>
                </c:pt>
                <c:pt idx="122">
                  <c:v>3</c:v>
                </c:pt>
                <c:pt idx="123">
                  <c:v>2.85</c:v>
                </c:pt>
                <c:pt idx="124">
                  <c:v>2.85</c:v>
                </c:pt>
                <c:pt idx="125">
                  <c:v>2.85</c:v>
                </c:pt>
                <c:pt idx="126">
                  <c:v>2.85</c:v>
                </c:pt>
                <c:pt idx="127">
                  <c:v>2.85</c:v>
                </c:pt>
                <c:pt idx="128">
                  <c:v>2.85</c:v>
                </c:pt>
                <c:pt idx="129">
                  <c:v>2.7</c:v>
                </c:pt>
                <c:pt idx="130">
                  <c:v>2.7</c:v>
                </c:pt>
                <c:pt idx="131">
                  <c:v>2.7</c:v>
                </c:pt>
                <c:pt idx="132">
                  <c:v>2.7</c:v>
                </c:pt>
                <c:pt idx="133">
                  <c:v>2.7</c:v>
                </c:pt>
                <c:pt idx="134">
                  <c:v>2.7</c:v>
                </c:pt>
                <c:pt idx="135">
                  <c:v>2.7</c:v>
                </c:pt>
                <c:pt idx="136">
                  <c:v>2.7</c:v>
                </c:pt>
                <c:pt idx="137">
                  <c:v>2.7</c:v>
                </c:pt>
                <c:pt idx="138">
                  <c:v>2.7</c:v>
                </c:pt>
                <c:pt idx="139">
                  <c:v>2.7</c:v>
                </c:pt>
                <c:pt idx="140">
                  <c:v>2.7</c:v>
                </c:pt>
                <c:pt idx="141">
                  <c:v>2.7</c:v>
                </c:pt>
                <c:pt idx="142">
                  <c:v>2.7</c:v>
                </c:pt>
                <c:pt idx="143">
                  <c:v>2.7</c:v>
                </c:pt>
                <c:pt idx="144">
                  <c:v>2.7</c:v>
                </c:pt>
                <c:pt idx="145">
                  <c:v>2.7</c:v>
                </c:pt>
                <c:pt idx="146">
                  <c:v>2.7</c:v>
                </c:pt>
                <c:pt idx="147">
                  <c:v>2.7</c:v>
                </c:pt>
                <c:pt idx="148">
                  <c:v>2.7</c:v>
                </c:pt>
                <c:pt idx="149">
                  <c:v>2.7</c:v>
                </c:pt>
                <c:pt idx="150">
                  <c:v>2.7</c:v>
                </c:pt>
                <c:pt idx="151">
                  <c:v>2.7</c:v>
                </c:pt>
                <c:pt idx="152">
                  <c:v>2.7</c:v>
                </c:pt>
                <c:pt idx="153">
                  <c:v>2.95</c:v>
                </c:pt>
                <c:pt idx="154">
                  <c:v>2.95</c:v>
                </c:pt>
                <c:pt idx="155">
                  <c:v>3.2</c:v>
                </c:pt>
                <c:pt idx="156">
                  <c:v>3.2</c:v>
                </c:pt>
                <c:pt idx="157">
                  <c:v>3.2</c:v>
                </c:pt>
                <c:pt idx="158">
                  <c:v>3.2</c:v>
                </c:pt>
                <c:pt idx="159">
                  <c:v>3.45</c:v>
                </c:pt>
                <c:pt idx="160">
                  <c:v>3.45</c:v>
                </c:pt>
                <c:pt idx="161">
                  <c:v>3.45</c:v>
                </c:pt>
                <c:pt idx="162">
                  <c:v>3.45</c:v>
                </c:pt>
                <c:pt idx="163">
                  <c:v>3.45</c:v>
                </c:pt>
                <c:pt idx="164">
                  <c:v>3.45</c:v>
                </c:pt>
                <c:pt idx="165">
                  <c:v>3.7</c:v>
                </c:pt>
                <c:pt idx="166">
                  <c:v>3.7</c:v>
                </c:pt>
                <c:pt idx="167">
                  <c:v>3.7</c:v>
                </c:pt>
                <c:pt idx="168">
                  <c:v>3.95</c:v>
                </c:pt>
                <c:pt idx="169">
                  <c:v>3.95</c:v>
                </c:pt>
                <c:pt idx="170">
                  <c:v>3.95</c:v>
                </c:pt>
                <c:pt idx="171">
                  <c:v>3.95</c:v>
                </c:pt>
                <c:pt idx="172">
                  <c:v>3.95</c:v>
                </c:pt>
                <c:pt idx="173">
                  <c:v>3.95</c:v>
                </c:pt>
                <c:pt idx="174">
                  <c:v>3.95</c:v>
                </c:pt>
                <c:pt idx="175">
                  <c:v>3.95</c:v>
                </c:pt>
                <c:pt idx="176">
                  <c:v>3.95</c:v>
                </c:pt>
                <c:pt idx="177">
                  <c:v>3.95</c:v>
                </c:pt>
                <c:pt idx="178">
                  <c:v>3.95</c:v>
                </c:pt>
                <c:pt idx="179">
                  <c:v>3.95</c:v>
                </c:pt>
                <c:pt idx="180">
                  <c:v>3.95</c:v>
                </c:pt>
                <c:pt idx="181">
                  <c:v>3.95</c:v>
                </c:pt>
                <c:pt idx="182">
                  <c:v>3.95</c:v>
                </c:pt>
                <c:pt idx="183">
                  <c:v>3.95</c:v>
                </c:pt>
                <c:pt idx="184">
                  <c:v>3.95</c:v>
                </c:pt>
                <c:pt idx="185">
                  <c:v>2.4500000000000002</c:v>
                </c:pt>
                <c:pt idx="186">
                  <c:v>2.4500000000000002</c:v>
                </c:pt>
                <c:pt idx="187">
                  <c:v>2.4500000000000002</c:v>
                </c:pt>
                <c:pt idx="188">
                  <c:v>2.4500000000000002</c:v>
                </c:pt>
                <c:pt idx="189">
                  <c:v>2.4500000000000002</c:v>
                </c:pt>
                <c:pt idx="190">
                  <c:v>2.4500000000000002</c:v>
                </c:pt>
                <c:pt idx="191">
                  <c:v>2.4500000000000002</c:v>
                </c:pt>
                <c:pt idx="192">
                  <c:v>2.4500000000000002</c:v>
                </c:pt>
                <c:pt idx="193">
                  <c:v>2.4500000000000002</c:v>
                </c:pt>
                <c:pt idx="194">
                  <c:v>2.4500000000000002</c:v>
                </c:pt>
                <c:pt idx="195">
                  <c:v>2.4500000000000002</c:v>
                </c:pt>
                <c:pt idx="196">
                  <c:v>2.4500000000000002</c:v>
                </c:pt>
                <c:pt idx="197">
                  <c:v>2.4500000000000002</c:v>
                </c:pt>
                <c:pt idx="198">
                  <c:v>2.4500000000000002</c:v>
                </c:pt>
                <c:pt idx="199">
                  <c:v>2.4500000000000002</c:v>
                </c:pt>
                <c:pt idx="200">
                  <c:v>2.4500000000000002</c:v>
                </c:pt>
                <c:pt idx="201">
                  <c:v>2.4500000000000002</c:v>
                </c:pt>
                <c:pt idx="202">
                  <c:v>2.4500000000000002</c:v>
                </c:pt>
                <c:pt idx="203">
                  <c:v>2.4500000000000002</c:v>
                </c:pt>
                <c:pt idx="204">
                  <c:v>2.4500000000000002</c:v>
                </c:pt>
                <c:pt idx="205">
                  <c:v>2.4500000000000002</c:v>
                </c:pt>
                <c:pt idx="206">
                  <c:v>2.4500000000000002</c:v>
                </c:pt>
                <c:pt idx="207">
                  <c:v>2.4500000000000002</c:v>
                </c:pt>
                <c:pt idx="208">
                  <c:v>2.4500000000000002</c:v>
                </c:pt>
                <c:pt idx="209">
                  <c:v>2.7</c:v>
                </c:pt>
                <c:pt idx="210">
                  <c:v>3.2</c:v>
                </c:pt>
                <c:pt idx="211">
                  <c:v>3.2</c:v>
                </c:pt>
                <c:pt idx="212">
                  <c:v>3.7</c:v>
                </c:pt>
                <c:pt idx="213">
                  <c:v>4.7</c:v>
                </c:pt>
                <c:pt idx="214">
                  <c:v>4.7</c:v>
                </c:pt>
                <c:pt idx="215">
                  <c:v>5.45</c:v>
                </c:pt>
                <c:pt idx="216">
                  <c:v>5.45</c:v>
                </c:pt>
                <c:pt idx="217">
                  <c:v>5.95</c:v>
                </c:pt>
                <c:pt idx="218">
                  <c:v>6.45</c:v>
                </c:pt>
                <c:pt idx="219">
                  <c:v>6.7</c:v>
                </c:pt>
                <c:pt idx="220">
                  <c:v>6.7</c:v>
                </c:pt>
                <c:pt idx="221">
                  <c:v>6.7</c:v>
                </c:pt>
                <c:pt idx="222">
                  <c:v>6.7</c:v>
                </c:pt>
                <c:pt idx="223">
                  <c:v>6.7</c:v>
                </c:pt>
                <c:pt idx="224">
                  <c:v>6.95</c:v>
                </c:pt>
                <c:pt idx="225">
                  <c:v>7.2</c:v>
                </c:pt>
                <c:pt idx="226">
                  <c:v>7.2</c:v>
                </c:pt>
                <c:pt idx="227">
                  <c:v>7.2</c:v>
                </c:pt>
                <c:pt idx="228">
                  <c:v>7.2</c:v>
                </c:pt>
                <c:pt idx="229">
                  <c:v>7.2</c:v>
                </c:pt>
                <c:pt idx="230">
                  <c:v>7.2</c:v>
                </c:pt>
                <c:pt idx="231">
                  <c:v>7.2</c:v>
                </c:pt>
                <c:pt idx="232">
                  <c:v>7.2</c:v>
                </c:pt>
                <c:pt idx="233">
                  <c:v>7.2</c:v>
                </c:pt>
                <c:pt idx="234">
                  <c:v>7.2</c:v>
                </c:pt>
                <c:pt idx="235">
                  <c:v>7.2</c:v>
                </c:pt>
                <c:pt idx="236">
                  <c:v>6.95</c:v>
                </c:pt>
                <c:pt idx="237">
                  <c:v>6.7</c:v>
                </c:pt>
                <c:pt idx="238">
                  <c:v>6.7</c:v>
                </c:pt>
                <c:pt idx="239">
                  <c:v>6.45</c:v>
                </c:pt>
                <c:pt idx="240">
                  <c:v>5.95</c:v>
                </c:pt>
                <c:pt idx="241">
                  <c:v>5.95</c:v>
                </c:pt>
              </c:numCache>
            </c:numRef>
          </c:val>
          <c:smooth val="0"/>
          <c:extLst>
            <c:ext xmlns:c16="http://schemas.microsoft.com/office/drawing/2014/chart" uri="{C3380CC4-5D6E-409C-BE32-E72D297353CC}">
              <c16:uniqueId val="{00000000-CAA0-4B8E-82E6-F5E5587EE2F0}"/>
            </c:ext>
          </c:extLst>
        </c:ser>
        <c:ser>
          <c:idx val="1"/>
          <c:order val="1"/>
          <c:tx>
            <c:strRef>
              <c:f>'Prime-Rate-History-wowa'!$D$2</c:f>
              <c:strCache>
                <c:ptCount val="1"/>
                <c:pt idx="0">
                  <c:v>Bank of Canada Overnight Rate</c:v>
                </c:pt>
              </c:strCache>
            </c:strRef>
          </c:tx>
          <c:spPr>
            <a:ln w="28575" cap="rnd">
              <a:solidFill>
                <a:schemeClr val="accent2"/>
              </a:solidFill>
              <a:round/>
            </a:ln>
            <a:effectLst/>
          </c:spPr>
          <c:marker>
            <c:symbol val="none"/>
          </c:marker>
          <c:dLbls>
            <c:dLbl>
              <c:idx val="241"/>
              <c:tx>
                <c:rich>
                  <a:bodyPr/>
                  <a:lstStyle/>
                  <a:p>
                    <a:fld id="{1365F409-02C1-4299-9BD9-67A10C0B7998}" type="VALUE">
                      <a:rPr lang="en-US" smtClean="0"/>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AA0-4B8E-82E6-F5E5587EE2F0}"/>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rime-Rate-History-wowa'!$B$3:$B$806</c:f>
              <c:numCache>
                <c:formatCode>mmm\-yy</c:formatCode>
                <c:ptCount val="242"/>
                <c:pt idx="0">
                  <c:v>38261</c:v>
                </c:pt>
                <c:pt idx="1">
                  <c:v>38292</c:v>
                </c:pt>
                <c:pt idx="2">
                  <c:v>38322</c:v>
                </c:pt>
                <c:pt idx="3">
                  <c:v>38353</c:v>
                </c:pt>
                <c:pt idx="4">
                  <c:v>38384</c:v>
                </c:pt>
                <c:pt idx="5">
                  <c:v>38412</c:v>
                </c:pt>
                <c:pt idx="6">
                  <c:v>38443</c:v>
                </c:pt>
                <c:pt idx="7">
                  <c:v>38473</c:v>
                </c:pt>
                <c:pt idx="8">
                  <c:v>38504</c:v>
                </c:pt>
                <c:pt idx="9">
                  <c:v>38534</c:v>
                </c:pt>
                <c:pt idx="10">
                  <c:v>38565</c:v>
                </c:pt>
                <c:pt idx="11">
                  <c:v>38596</c:v>
                </c:pt>
                <c:pt idx="12">
                  <c:v>38626</c:v>
                </c:pt>
                <c:pt idx="13">
                  <c:v>38657</c:v>
                </c:pt>
                <c:pt idx="14">
                  <c:v>38687</c:v>
                </c:pt>
                <c:pt idx="15">
                  <c:v>38718</c:v>
                </c:pt>
                <c:pt idx="16">
                  <c:v>38749</c:v>
                </c:pt>
                <c:pt idx="17">
                  <c:v>38777</c:v>
                </c:pt>
                <c:pt idx="18">
                  <c:v>38808</c:v>
                </c:pt>
                <c:pt idx="19">
                  <c:v>38838</c:v>
                </c:pt>
                <c:pt idx="20">
                  <c:v>38869</c:v>
                </c:pt>
                <c:pt idx="21">
                  <c:v>38899</c:v>
                </c:pt>
                <c:pt idx="22">
                  <c:v>38930</c:v>
                </c:pt>
                <c:pt idx="23">
                  <c:v>38961</c:v>
                </c:pt>
                <c:pt idx="24">
                  <c:v>38991</c:v>
                </c:pt>
                <c:pt idx="25">
                  <c:v>39022</c:v>
                </c:pt>
                <c:pt idx="26">
                  <c:v>39052</c:v>
                </c:pt>
                <c:pt idx="27">
                  <c:v>39083</c:v>
                </c:pt>
                <c:pt idx="28">
                  <c:v>39114</c:v>
                </c:pt>
                <c:pt idx="29">
                  <c:v>39142</c:v>
                </c:pt>
                <c:pt idx="30">
                  <c:v>39173</c:v>
                </c:pt>
                <c:pt idx="31">
                  <c:v>39203</c:v>
                </c:pt>
                <c:pt idx="32">
                  <c:v>39234</c:v>
                </c:pt>
                <c:pt idx="33">
                  <c:v>39264</c:v>
                </c:pt>
                <c:pt idx="34">
                  <c:v>39295</c:v>
                </c:pt>
                <c:pt idx="35">
                  <c:v>39326</c:v>
                </c:pt>
                <c:pt idx="36">
                  <c:v>39356</c:v>
                </c:pt>
                <c:pt idx="37">
                  <c:v>39387</c:v>
                </c:pt>
                <c:pt idx="38">
                  <c:v>39417</c:v>
                </c:pt>
                <c:pt idx="39">
                  <c:v>39448</c:v>
                </c:pt>
                <c:pt idx="40">
                  <c:v>39479</c:v>
                </c:pt>
                <c:pt idx="41">
                  <c:v>39508</c:v>
                </c:pt>
                <c:pt idx="42">
                  <c:v>39539</c:v>
                </c:pt>
                <c:pt idx="43">
                  <c:v>39569</c:v>
                </c:pt>
                <c:pt idx="44">
                  <c:v>39600</c:v>
                </c:pt>
                <c:pt idx="45">
                  <c:v>39630</c:v>
                </c:pt>
                <c:pt idx="46">
                  <c:v>39661</c:v>
                </c:pt>
                <c:pt idx="47">
                  <c:v>39692</c:v>
                </c:pt>
                <c:pt idx="48">
                  <c:v>39722</c:v>
                </c:pt>
                <c:pt idx="49">
                  <c:v>39753</c:v>
                </c:pt>
                <c:pt idx="50">
                  <c:v>39783</c:v>
                </c:pt>
                <c:pt idx="51">
                  <c:v>39814</c:v>
                </c:pt>
                <c:pt idx="52">
                  <c:v>39845</c:v>
                </c:pt>
                <c:pt idx="53">
                  <c:v>39873</c:v>
                </c:pt>
                <c:pt idx="54">
                  <c:v>39904</c:v>
                </c:pt>
                <c:pt idx="55">
                  <c:v>39934</c:v>
                </c:pt>
                <c:pt idx="56">
                  <c:v>39965</c:v>
                </c:pt>
                <c:pt idx="57">
                  <c:v>39995</c:v>
                </c:pt>
                <c:pt idx="58">
                  <c:v>40026</c:v>
                </c:pt>
                <c:pt idx="59">
                  <c:v>40057</c:v>
                </c:pt>
                <c:pt idx="60">
                  <c:v>40087</c:v>
                </c:pt>
                <c:pt idx="61">
                  <c:v>40118</c:v>
                </c:pt>
                <c:pt idx="62">
                  <c:v>40148</c:v>
                </c:pt>
                <c:pt idx="63">
                  <c:v>40179</c:v>
                </c:pt>
                <c:pt idx="64">
                  <c:v>40210</c:v>
                </c:pt>
                <c:pt idx="65">
                  <c:v>40238</c:v>
                </c:pt>
                <c:pt idx="66">
                  <c:v>40269</c:v>
                </c:pt>
                <c:pt idx="67">
                  <c:v>40299</c:v>
                </c:pt>
                <c:pt idx="68">
                  <c:v>40330</c:v>
                </c:pt>
                <c:pt idx="69">
                  <c:v>40360</c:v>
                </c:pt>
                <c:pt idx="70">
                  <c:v>40391</c:v>
                </c:pt>
                <c:pt idx="71">
                  <c:v>40422</c:v>
                </c:pt>
                <c:pt idx="72">
                  <c:v>40452</c:v>
                </c:pt>
                <c:pt idx="73">
                  <c:v>40483</c:v>
                </c:pt>
                <c:pt idx="74">
                  <c:v>40513</c:v>
                </c:pt>
                <c:pt idx="75">
                  <c:v>40544</c:v>
                </c:pt>
                <c:pt idx="76">
                  <c:v>40575</c:v>
                </c:pt>
                <c:pt idx="77">
                  <c:v>40603</c:v>
                </c:pt>
                <c:pt idx="78">
                  <c:v>40634</c:v>
                </c:pt>
                <c:pt idx="79">
                  <c:v>40664</c:v>
                </c:pt>
                <c:pt idx="80">
                  <c:v>40695</c:v>
                </c:pt>
                <c:pt idx="81">
                  <c:v>40725</c:v>
                </c:pt>
                <c:pt idx="82">
                  <c:v>40756</c:v>
                </c:pt>
                <c:pt idx="83">
                  <c:v>40787</c:v>
                </c:pt>
                <c:pt idx="84">
                  <c:v>40817</c:v>
                </c:pt>
                <c:pt idx="85">
                  <c:v>40848</c:v>
                </c:pt>
                <c:pt idx="86">
                  <c:v>40878</c:v>
                </c:pt>
                <c:pt idx="87">
                  <c:v>40909</c:v>
                </c:pt>
                <c:pt idx="88">
                  <c:v>40940</c:v>
                </c:pt>
                <c:pt idx="89">
                  <c:v>40969</c:v>
                </c:pt>
                <c:pt idx="90">
                  <c:v>41000</c:v>
                </c:pt>
                <c:pt idx="91">
                  <c:v>41030</c:v>
                </c:pt>
                <c:pt idx="92">
                  <c:v>41061</c:v>
                </c:pt>
                <c:pt idx="93">
                  <c:v>41091</c:v>
                </c:pt>
                <c:pt idx="94">
                  <c:v>41122</c:v>
                </c:pt>
                <c:pt idx="95">
                  <c:v>41153</c:v>
                </c:pt>
                <c:pt idx="96">
                  <c:v>41183</c:v>
                </c:pt>
                <c:pt idx="97">
                  <c:v>41214</c:v>
                </c:pt>
                <c:pt idx="98">
                  <c:v>41244</c:v>
                </c:pt>
                <c:pt idx="99">
                  <c:v>41275</c:v>
                </c:pt>
                <c:pt idx="100">
                  <c:v>41306</c:v>
                </c:pt>
                <c:pt idx="101">
                  <c:v>41334</c:v>
                </c:pt>
                <c:pt idx="102">
                  <c:v>41365</c:v>
                </c:pt>
                <c:pt idx="103">
                  <c:v>41395</c:v>
                </c:pt>
                <c:pt idx="104">
                  <c:v>41426</c:v>
                </c:pt>
                <c:pt idx="105">
                  <c:v>41456</c:v>
                </c:pt>
                <c:pt idx="106">
                  <c:v>41487</c:v>
                </c:pt>
                <c:pt idx="107">
                  <c:v>41518</c:v>
                </c:pt>
                <c:pt idx="108">
                  <c:v>41548</c:v>
                </c:pt>
                <c:pt idx="109">
                  <c:v>41579</c:v>
                </c:pt>
                <c:pt idx="110">
                  <c:v>41609</c:v>
                </c:pt>
                <c:pt idx="111">
                  <c:v>41640</c:v>
                </c:pt>
                <c:pt idx="112">
                  <c:v>41671</c:v>
                </c:pt>
                <c:pt idx="113">
                  <c:v>41699</c:v>
                </c:pt>
                <c:pt idx="114">
                  <c:v>41730</c:v>
                </c:pt>
                <c:pt idx="115">
                  <c:v>41760</c:v>
                </c:pt>
                <c:pt idx="116">
                  <c:v>41791</c:v>
                </c:pt>
                <c:pt idx="117">
                  <c:v>41821</c:v>
                </c:pt>
                <c:pt idx="118">
                  <c:v>41852</c:v>
                </c:pt>
                <c:pt idx="119">
                  <c:v>41883</c:v>
                </c:pt>
                <c:pt idx="120">
                  <c:v>41913</c:v>
                </c:pt>
                <c:pt idx="121">
                  <c:v>41944</c:v>
                </c:pt>
                <c:pt idx="122">
                  <c:v>41974</c:v>
                </c:pt>
                <c:pt idx="123">
                  <c:v>42005</c:v>
                </c:pt>
                <c:pt idx="124">
                  <c:v>42036</c:v>
                </c:pt>
                <c:pt idx="125">
                  <c:v>42064</c:v>
                </c:pt>
                <c:pt idx="126">
                  <c:v>42095</c:v>
                </c:pt>
                <c:pt idx="127">
                  <c:v>42125</c:v>
                </c:pt>
                <c:pt idx="128">
                  <c:v>42156</c:v>
                </c:pt>
                <c:pt idx="129">
                  <c:v>42186</c:v>
                </c:pt>
                <c:pt idx="130">
                  <c:v>42217</c:v>
                </c:pt>
                <c:pt idx="131">
                  <c:v>42248</c:v>
                </c:pt>
                <c:pt idx="132">
                  <c:v>42278</c:v>
                </c:pt>
                <c:pt idx="133">
                  <c:v>42309</c:v>
                </c:pt>
                <c:pt idx="134">
                  <c:v>42339</c:v>
                </c:pt>
                <c:pt idx="135">
                  <c:v>42370</c:v>
                </c:pt>
                <c:pt idx="136">
                  <c:v>42401</c:v>
                </c:pt>
                <c:pt idx="137">
                  <c:v>42430</c:v>
                </c:pt>
                <c:pt idx="138">
                  <c:v>42461</c:v>
                </c:pt>
                <c:pt idx="139">
                  <c:v>42491</c:v>
                </c:pt>
                <c:pt idx="140">
                  <c:v>42522</c:v>
                </c:pt>
                <c:pt idx="141">
                  <c:v>42552</c:v>
                </c:pt>
                <c:pt idx="142">
                  <c:v>42583</c:v>
                </c:pt>
                <c:pt idx="143">
                  <c:v>42614</c:v>
                </c:pt>
                <c:pt idx="144">
                  <c:v>42644</c:v>
                </c:pt>
                <c:pt idx="145">
                  <c:v>42675</c:v>
                </c:pt>
                <c:pt idx="146">
                  <c:v>42705</c:v>
                </c:pt>
                <c:pt idx="147">
                  <c:v>42736</c:v>
                </c:pt>
                <c:pt idx="148">
                  <c:v>42767</c:v>
                </c:pt>
                <c:pt idx="149">
                  <c:v>42795</c:v>
                </c:pt>
                <c:pt idx="150">
                  <c:v>42826</c:v>
                </c:pt>
                <c:pt idx="151">
                  <c:v>42856</c:v>
                </c:pt>
                <c:pt idx="152">
                  <c:v>42887</c:v>
                </c:pt>
                <c:pt idx="153">
                  <c:v>42917</c:v>
                </c:pt>
                <c:pt idx="154">
                  <c:v>42948</c:v>
                </c:pt>
                <c:pt idx="155">
                  <c:v>42979</c:v>
                </c:pt>
                <c:pt idx="156">
                  <c:v>43009</c:v>
                </c:pt>
                <c:pt idx="157">
                  <c:v>43040</c:v>
                </c:pt>
                <c:pt idx="158">
                  <c:v>43070</c:v>
                </c:pt>
                <c:pt idx="159">
                  <c:v>43101</c:v>
                </c:pt>
                <c:pt idx="160">
                  <c:v>43132</c:v>
                </c:pt>
                <c:pt idx="161">
                  <c:v>43160</c:v>
                </c:pt>
                <c:pt idx="162">
                  <c:v>43191</c:v>
                </c:pt>
                <c:pt idx="163">
                  <c:v>43221</c:v>
                </c:pt>
                <c:pt idx="164">
                  <c:v>43252</c:v>
                </c:pt>
                <c:pt idx="165">
                  <c:v>43282</c:v>
                </c:pt>
                <c:pt idx="166">
                  <c:v>43313</c:v>
                </c:pt>
                <c:pt idx="167">
                  <c:v>43344</c:v>
                </c:pt>
                <c:pt idx="168">
                  <c:v>43374</c:v>
                </c:pt>
                <c:pt idx="169">
                  <c:v>43405</c:v>
                </c:pt>
                <c:pt idx="170">
                  <c:v>43435</c:v>
                </c:pt>
                <c:pt idx="171">
                  <c:v>43466</c:v>
                </c:pt>
                <c:pt idx="172">
                  <c:v>43497</c:v>
                </c:pt>
                <c:pt idx="173">
                  <c:v>43525</c:v>
                </c:pt>
                <c:pt idx="174">
                  <c:v>43556</c:v>
                </c:pt>
                <c:pt idx="175">
                  <c:v>43586</c:v>
                </c:pt>
                <c:pt idx="176">
                  <c:v>43617</c:v>
                </c:pt>
                <c:pt idx="177">
                  <c:v>43647</c:v>
                </c:pt>
                <c:pt idx="178">
                  <c:v>43678</c:v>
                </c:pt>
                <c:pt idx="179">
                  <c:v>43709</c:v>
                </c:pt>
                <c:pt idx="180">
                  <c:v>43739</c:v>
                </c:pt>
                <c:pt idx="181">
                  <c:v>43770</c:v>
                </c:pt>
                <c:pt idx="182">
                  <c:v>43800</c:v>
                </c:pt>
                <c:pt idx="183">
                  <c:v>43831</c:v>
                </c:pt>
                <c:pt idx="184">
                  <c:v>43862</c:v>
                </c:pt>
                <c:pt idx="185">
                  <c:v>43891</c:v>
                </c:pt>
                <c:pt idx="186">
                  <c:v>43922</c:v>
                </c:pt>
                <c:pt idx="187">
                  <c:v>43952</c:v>
                </c:pt>
                <c:pt idx="188">
                  <c:v>43983</c:v>
                </c:pt>
                <c:pt idx="189">
                  <c:v>44013</c:v>
                </c:pt>
                <c:pt idx="190">
                  <c:v>44044</c:v>
                </c:pt>
                <c:pt idx="191">
                  <c:v>44075</c:v>
                </c:pt>
                <c:pt idx="192">
                  <c:v>44105</c:v>
                </c:pt>
                <c:pt idx="193">
                  <c:v>44136</c:v>
                </c:pt>
                <c:pt idx="194">
                  <c:v>44166</c:v>
                </c:pt>
                <c:pt idx="195">
                  <c:v>44197</c:v>
                </c:pt>
                <c:pt idx="196">
                  <c:v>44228</c:v>
                </c:pt>
                <c:pt idx="197">
                  <c:v>44256</c:v>
                </c:pt>
                <c:pt idx="198">
                  <c:v>44287</c:v>
                </c:pt>
                <c:pt idx="199">
                  <c:v>44317</c:v>
                </c:pt>
                <c:pt idx="200">
                  <c:v>44348</c:v>
                </c:pt>
                <c:pt idx="201">
                  <c:v>44378</c:v>
                </c:pt>
                <c:pt idx="202">
                  <c:v>44409</c:v>
                </c:pt>
                <c:pt idx="203">
                  <c:v>44440</c:v>
                </c:pt>
                <c:pt idx="204">
                  <c:v>44470</c:v>
                </c:pt>
                <c:pt idx="205">
                  <c:v>44501</c:v>
                </c:pt>
                <c:pt idx="206">
                  <c:v>44531</c:v>
                </c:pt>
                <c:pt idx="207">
                  <c:v>44562</c:v>
                </c:pt>
                <c:pt idx="208">
                  <c:v>44593</c:v>
                </c:pt>
                <c:pt idx="209">
                  <c:v>44621</c:v>
                </c:pt>
                <c:pt idx="210">
                  <c:v>44652</c:v>
                </c:pt>
                <c:pt idx="211">
                  <c:v>44682</c:v>
                </c:pt>
                <c:pt idx="212">
                  <c:v>44713</c:v>
                </c:pt>
                <c:pt idx="213">
                  <c:v>44743</c:v>
                </c:pt>
                <c:pt idx="214">
                  <c:v>44774</c:v>
                </c:pt>
                <c:pt idx="215">
                  <c:v>44805</c:v>
                </c:pt>
                <c:pt idx="216">
                  <c:v>44835</c:v>
                </c:pt>
                <c:pt idx="217">
                  <c:v>44866</c:v>
                </c:pt>
                <c:pt idx="218">
                  <c:v>44896</c:v>
                </c:pt>
                <c:pt idx="219">
                  <c:v>44927</c:v>
                </c:pt>
                <c:pt idx="220">
                  <c:v>44958</c:v>
                </c:pt>
                <c:pt idx="221">
                  <c:v>44986</c:v>
                </c:pt>
                <c:pt idx="222">
                  <c:v>45017</c:v>
                </c:pt>
                <c:pt idx="223">
                  <c:v>45047</c:v>
                </c:pt>
                <c:pt idx="224">
                  <c:v>45078</c:v>
                </c:pt>
                <c:pt idx="225">
                  <c:v>45108</c:v>
                </c:pt>
                <c:pt idx="226">
                  <c:v>45139</c:v>
                </c:pt>
                <c:pt idx="227">
                  <c:v>45170</c:v>
                </c:pt>
                <c:pt idx="228">
                  <c:v>45200</c:v>
                </c:pt>
                <c:pt idx="229">
                  <c:v>45231</c:v>
                </c:pt>
                <c:pt idx="230">
                  <c:v>45261</c:v>
                </c:pt>
                <c:pt idx="231">
                  <c:v>45292</c:v>
                </c:pt>
                <c:pt idx="232">
                  <c:v>45323</c:v>
                </c:pt>
                <c:pt idx="233">
                  <c:v>45352</c:v>
                </c:pt>
                <c:pt idx="234">
                  <c:v>45383</c:v>
                </c:pt>
                <c:pt idx="235">
                  <c:v>45413</c:v>
                </c:pt>
                <c:pt idx="236">
                  <c:v>45444</c:v>
                </c:pt>
                <c:pt idx="237">
                  <c:v>45474</c:v>
                </c:pt>
                <c:pt idx="238">
                  <c:v>45505</c:v>
                </c:pt>
                <c:pt idx="239">
                  <c:v>45536</c:v>
                </c:pt>
                <c:pt idx="240">
                  <c:v>45566</c:v>
                </c:pt>
                <c:pt idx="241">
                  <c:v>45597</c:v>
                </c:pt>
              </c:numCache>
            </c:numRef>
          </c:cat>
          <c:val>
            <c:numRef>
              <c:f>'Prime-Rate-History-wowa'!$D$3:$D$806</c:f>
              <c:numCache>
                <c:formatCode>General</c:formatCode>
                <c:ptCount val="242"/>
                <c:pt idx="0">
                  <c:v>2.5</c:v>
                </c:pt>
                <c:pt idx="1">
                  <c:v>2.5</c:v>
                </c:pt>
                <c:pt idx="2">
                  <c:v>2.5</c:v>
                </c:pt>
                <c:pt idx="3">
                  <c:v>2.5</c:v>
                </c:pt>
                <c:pt idx="4">
                  <c:v>2.5</c:v>
                </c:pt>
                <c:pt idx="5">
                  <c:v>2.5</c:v>
                </c:pt>
                <c:pt idx="6">
                  <c:v>2.5</c:v>
                </c:pt>
                <c:pt idx="7">
                  <c:v>2.5</c:v>
                </c:pt>
                <c:pt idx="8">
                  <c:v>2.5</c:v>
                </c:pt>
                <c:pt idx="9">
                  <c:v>2.5</c:v>
                </c:pt>
                <c:pt idx="10">
                  <c:v>2.5</c:v>
                </c:pt>
                <c:pt idx="11">
                  <c:v>2.75</c:v>
                </c:pt>
                <c:pt idx="12">
                  <c:v>3</c:v>
                </c:pt>
                <c:pt idx="13">
                  <c:v>3</c:v>
                </c:pt>
                <c:pt idx="14">
                  <c:v>3.25</c:v>
                </c:pt>
                <c:pt idx="15">
                  <c:v>3.5</c:v>
                </c:pt>
                <c:pt idx="16">
                  <c:v>3.5</c:v>
                </c:pt>
                <c:pt idx="17">
                  <c:v>3.75</c:v>
                </c:pt>
                <c:pt idx="18">
                  <c:v>4</c:v>
                </c:pt>
                <c:pt idx="19">
                  <c:v>4.25</c:v>
                </c:pt>
                <c:pt idx="20">
                  <c:v>4.25</c:v>
                </c:pt>
                <c:pt idx="21">
                  <c:v>4.25</c:v>
                </c:pt>
                <c:pt idx="22">
                  <c:v>4.25</c:v>
                </c:pt>
                <c:pt idx="23">
                  <c:v>4.25</c:v>
                </c:pt>
                <c:pt idx="24">
                  <c:v>4.25</c:v>
                </c:pt>
                <c:pt idx="25">
                  <c:v>4.25</c:v>
                </c:pt>
                <c:pt idx="26">
                  <c:v>4.25</c:v>
                </c:pt>
                <c:pt idx="27">
                  <c:v>4.25</c:v>
                </c:pt>
                <c:pt idx="28">
                  <c:v>4.25</c:v>
                </c:pt>
                <c:pt idx="29">
                  <c:v>4.25</c:v>
                </c:pt>
                <c:pt idx="30">
                  <c:v>4.25</c:v>
                </c:pt>
                <c:pt idx="31">
                  <c:v>4.25</c:v>
                </c:pt>
                <c:pt idx="32">
                  <c:v>4.25</c:v>
                </c:pt>
                <c:pt idx="33">
                  <c:v>4.5</c:v>
                </c:pt>
                <c:pt idx="34">
                  <c:v>4.5</c:v>
                </c:pt>
                <c:pt idx="35">
                  <c:v>4.5</c:v>
                </c:pt>
                <c:pt idx="36">
                  <c:v>4.5</c:v>
                </c:pt>
                <c:pt idx="37">
                  <c:v>4.5</c:v>
                </c:pt>
                <c:pt idx="38">
                  <c:v>4.25</c:v>
                </c:pt>
                <c:pt idx="39">
                  <c:v>4</c:v>
                </c:pt>
                <c:pt idx="40">
                  <c:v>4</c:v>
                </c:pt>
                <c:pt idx="41">
                  <c:v>3.5</c:v>
                </c:pt>
                <c:pt idx="42">
                  <c:v>3</c:v>
                </c:pt>
                <c:pt idx="43">
                  <c:v>3</c:v>
                </c:pt>
                <c:pt idx="44">
                  <c:v>3</c:v>
                </c:pt>
                <c:pt idx="45">
                  <c:v>3</c:v>
                </c:pt>
                <c:pt idx="46">
                  <c:v>3</c:v>
                </c:pt>
                <c:pt idx="47">
                  <c:v>3</c:v>
                </c:pt>
                <c:pt idx="48">
                  <c:v>2.25</c:v>
                </c:pt>
                <c:pt idx="49">
                  <c:v>2.25</c:v>
                </c:pt>
                <c:pt idx="50">
                  <c:v>1.5</c:v>
                </c:pt>
                <c:pt idx="51">
                  <c:v>1</c:v>
                </c:pt>
                <c:pt idx="52">
                  <c:v>1</c:v>
                </c:pt>
                <c:pt idx="53">
                  <c:v>0.5</c:v>
                </c:pt>
                <c:pt idx="54">
                  <c:v>0.25</c:v>
                </c:pt>
                <c:pt idx="55">
                  <c:v>0.25</c:v>
                </c:pt>
                <c:pt idx="56">
                  <c:v>0.25</c:v>
                </c:pt>
                <c:pt idx="57">
                  <c:v>0.25</c:v>
                </c:pt>
                <c:pt idx="58">
                  <c:v>0.25</c:v>
                </c:pt>
                <c:pt idx="59">
                  <c:v>0.25</c:v>
                </c:pt>
                <c:pt idx="60">
                  <c:v>0.25</c:v>
                </c:pt>
                <c:pt idx="61">
                  <c:v>0.25</c:v>
                </c:pt>
                <c:pt idx="62">
                  <c:v>0.25</c:v>
                </c:pt>
                <c:pt idx="63">
                  <c:v>0.25</c:v>
                </c:pt>
                <c:pt idx="64">
                  <c:v>0.25</c:v>
                </c:pt>
                <c:pt idx="65">
                  <c:v>0.25</c:v>
                </c:pt>
                <c:pt idx="66">
                  <c:v>0.25</c:v>
                </c:pt>
                <c:pt idx="67">
                  <c:v>0.5</c:v>
                </c:pt>
                <c:pt idx="68">
                  <c:v>0.5</c:v>
                </c:pt>
                <c:pt idx="69">
                  <c:v>0.75</c:v>
                </c:pt>
                <c:pt idx="70">
                  <c:v>0.75</c:v>
                </c:pt>
                <c:pt idx="71">
                  <c:v>1</c:v>
                </c:pt>
                <c:pt idx="72">
                  <c:v>1</c:v>
                </c:pt>
                <c:pt idx="73">
                  <c:v>1</c:v>
                </c:pt>
                <c:pt idx="74">
                  <c:v>1</c:v>
                </c:pt>
                <c:pt idx="75">
                  <c:v>1</c:v>
                </c:pt>
                <c:pt idx="76">
                  <c:v>1</c:v>
                </c:pt>
                <c:pt idx="77">
                  <c:v>1</c:v>
                </c:pt>
                <c:pt idx="78">
                  <c:v>1</c:v>
                </c:pt>
                <c:pt idx="79">
                  <c:v>1</c:v>
                </c:pt>
                <c:pt idx="80">
                  <c:v>1</c:v>
                </c:pt>
                <c:pt idx="81">
                  <c:v>1</c:v>
                </c:pt>
                <c:pt idx="82">
                  <c:v>1</c:v>
                </c:pt>
                <c:pt idx="83">
                  <c:v>1</c:v>
                </c:pt>
                <c:pt idx="84">
                  <c:v>1</c:v>
                </c:pt>
                <c:pt idx="85">
                  <c:v>1</c:v>
                </c:pt>
                <c:pt idx="86">
                  <c:v>1</c:v>
                </c:pt>
                <c:pt idx="87">
                  <c:v>1</c:v>
                </c:pt>
                <c:pt idx="88">
                  <c:v>1</c:v>
                </c:pt>
                <c:pt idx="89">
                  <c:v>1</c:v>
                </c:pt>
                <c:pt idx="90">
                  <c:v>1</c:v>
                </c:pt>
                <c:pt idx="91">
                  <c:v>1</c:v>
                </c:pt>
                <c:pt idx="92">
                  <c:v>1</c:v>
                </c:pt>
                <c:pt idx="93">
                  <c:v>1</c:v>
                </c:pt>
                <c:pt idx="94">
                  <c:v>1</c:v>
                </c:pt>
                <c:pt idx="95">
                  <c:v>1</c:v>
                </c:pt>
                <c:pt idx="96">
                  <c:v>1</c:v>
                </c:pt>
                <c:pt idx="97">
                  <c:v>1</c:v>
                </c:pt>
                <c:pt idx="98">
                  <c:v>1</c:v>
                </c:pt>
                <c:pt idx="99">
                  <c:v>1</c:v>
                </c:pt>
                <c:pt idx="100">
                  <c:v>1</c:v>
                </c:pt>
                <c:pt idx="101">
                  <c:v>1</c:v>
                </c:pt>
                <c:pt idx="102">
                  <c:v>1</c:v>
                </c:pt>
                <c:pt idx="103">
                  <c:v>1</c:v>
                </c:pt>
                <c:pt idx="104">
                  <c:v>1</c:v>
                </c:pt>
                <c:pt idx="105">
                  <c:v>1</c:v>
                </c:pt>
                <c:pt idx="106">
                  <c:v>1</c:v>
                </c:pt>
                <c:pt idx="107">
                  <c:v>1</c:v>
                </c:pt>
                <c:pt idx="108">
                  <c:v>1</c:v>
                </c:pt>
                <c:pt idx="109">
                  <c:v>1</c:v>
                </c:pt>
                <c:pt idx="110">
                  <c:v>1</c:v>
                </c:pt>
                <c:pt idx="111">
                  <c:v>1</c:v>
                </c:pt>
                <c:pt idx="112">
                  <c:v>1</c:v>
                </c:pt>
                <c:pt idx="113">
                  <c:v>1</c:v>
                </c:pt>
                <c:pt idx="114">
                  <c:v>1</c:v>
                </c:pt>
                <c:pt idx="115">
                  <c:v>1</c:v>
                </c:pt>
                <c:pt idx="116">
                  <c:v>1</c:v>
                </c:pt>
                <c:pt idx="117">
                  <c:v>1</c:v>
                </c:pt>
                <c:pt idx="118">
                  <c:v>1</c:v>
                </c:pt>
                <c:pt idx="119">
                  <c:v>1</c:v>
                </c:pt>
                <c:pt idx="120">
                  <c:v>1</c:v>
                </c:pt>
                <c:pt idx="121">
                  <c:v>1</c:v>
                </c:pt>
                <c:pt idx="122">
                  <c:v>1</c:v>
                </c:pt>
                <c:pt idx="123">
                  <c:v>0.75</c:v>
                </c:pt>
                <c:pt idx="124">
                  <c:v>0.75</c:v>
                </c:pt>
                <c:pt idx="125">
                  <c:v>0.75</c:v>
                </c:pt>
                <c:pt idx="126">
                  <c:v>0.75</c:v>
                </c:pt>
                <c:pt idx="127">
                  <c:v>0.75</c:v>
                </c:pt>
                <c:pt idx="128">
                  <c:v>0.75</c:v>
                </c:pt>
                <c:pt idx="129">
                  <c:v>0.5</c:v>
                </c:pt>
                <c:pt idx="130">
                  <c:v>0.5</c:v>
                </c:pt>
                <c:pt idx="131">
                  <c:v>0.5</c:v>
                </c:pt>
                <c:pt idx="132">
                  <c:v>0.5</c:v>
                </c:pt>
                <c:pt idx="133">
                  <c:v>0.5</c:v>
                </c:pt>
                <c:pt idx="134">
                  <c:v>0.5</c:v>
                </c:pt>
                <c:pt idx="135">
                  <c:v>0.5</c:v>
                </c:pt>
                <c:pt idx="136">
                  <c:v>0.5</c:v>
                </c:pt>
                <c:pt idx="137">
                  <c:v>0.5</c:v>
                </c:pt>
                <c:pt idx="138">
                  <c:v>0.5</c:v>
                </c:pt>
                <c:pt idx="139">
                  <c:v>0.5</c:v>
                </c:pt>
                <c:pt idx="140">
                  <c:v>0.5</c:v>
                </c:pt>
                <c:pt idx="141">
                  <c:v>0.5</c:v>
                </c:pt>
                <c:pt idx="142">
                  <c:v>0.5</c:v>
                </c:pt>
                <c:pt idx="143">
                  <c:v>0.5</c:v>
                </c:pt>
                <c:pt idx="144">
                  <c:v>0.5</c:v>
                </c:pt>
                <c:pt idx="145">
                  <c:v>0.5</c:v>
                </c:pt>
                <c:pt idx="146">
                  <c:v>0.5</c:v>
                </c:pt>
                <c:pt idx="147">
                  <c:v>0.5</c:v>
                </c:pt>
                <c:pt idx="148">
                  <c:v>0.5</c:v>
                </c:pt>
                <c:pt idx="149">
                  <c:v>0.5</c:v>
                </c:pt>
                <c:pt idx="150">
                  <c:v>0.5</c:v>
                </c:pt>
                <c:pt idx="151">
                  <c:v>0.5</c:v>
                </c:pt>
                <c:pt idx="152">
                  <c:v>0.5</c:v>
                </c:pt>
                <c:pt idx="153">
                  <c:v>0.75</c:v>
                </c:pt>
                <c:pt idx="154">
                  <c:v>0.75</c:v>
                </c:pt>
                <c:pt idx="155">
                  <c:v>1</c:v>
                </c:pt>
                <c:pt idx="156">
                  <c:v>1</c:v>
                </c:pt>
                <c:pt idx="157">
                  <c:v>1</c:v>
                </c:pt>
                <c:pt idx="158">
                  <c:v>1</c:v>
                </c:pt>
                <c:pt idx="159">
                  <c:v>1.25</c:v>
                </c:pt>
                <c:pt idx="160">
                  <c:v>1.25</c:v>
                </c:pt>
                <c:pt idx="161">
                  <c:v>1.25</c:v>
                </c:pt>
                <c:pt idx="162">
                  <c:v>1.25</c:v>
                </c:pt>
                <c:pt idx="163">
                  <c:v>1.25</c:v>
                </c:pt>
                <c:pt idx="164">
                  <c:v>1.25</c:v>
                </c:pt>
                <c:pt idx="165">
                  <c:v>1.5</c:v>
                </c:pt>
                <c:pt idx="166">
                  <c:v>1.5</c:v>
                </c:pt>
                <c:pt idx="167">
                  <c:v>1.5</c:v>
                </c:pt>
                <c:pt idx="168">
                  <c:v>1.75</c:v>
                </c:pt>
                <c:pt idx="169">
                  <c:v>1.75</c:v>
                </c:pt>
                <c:pt idx="170">
                  <c:v>1.75</c:v>
                </c:pt>
                <c:pt idx="171">
                  <c:v>1.75</c:v>
                </c:pt>
                <c:pt idx="172">
                  <c:v>1.75</c:v>
                </c:pt>
                <c:pt idx="173">
                  <c:v>1.75</c:v>
                </c:pt>
                <c:pt idx="174">
                  <c:v>1.75</c:v>
                </c:pt>
                <c:pt idx="175">
                  <c:v>1.75</c:v>
                </c:pt>
                <c:pt idx="176">
                  <c:v>1.75</c:v>
                </c:pt>
                <c:pt idx="177">
                  <c:v>1.75</c:v>
                </c:pt>
                <c:pt idx="178">
                  <c:v>1.75</c:v>
                </c:pt>
                <c:pt idx="179">
                  <c:v>1.75</c:v>
                </c:pt>
                <c:pt idx="180">
                  <c:v>1.75</c:v>
                </c:pt>
                <c:pt idx="181">
                  <c:v>1.75</c:v>
                </c:pt>
                <c:pt idx="182">
                  <c:v>1.75</c:v>
                </c:pt>
                <c:pt idx="183">
                  <c:v>1.75</c:v>
                </c:pt>
                <c:pt idx="184">
                  <c:v>1.75</c:v>
                </c:pt>
                <c:pt idx="185">
                  <c:v>0.25</c:v>
                </c:pt>
                <c:pt idx="186">
                  <c:v>0.25</c:v>
                </c:pt>
                <c:pt idx="187">
                  <c:v>0.25</c:v>
                </c:pt>
                <c:pt idx="188">
                  <c:v>0.25</c:v>
                </c:pt>
                <c:pt idx="189">
                  <c:v>0.25</c:v>
                </c:pt>
                <c:pt idx="190">
                  <c:v>0.25</c:v>
                </c:pt>
                <c:pt idx="191">
                  <c:v>0.25</c:v>
                </c:pt>
                <c:pt idx="192">
                  <c:v>0.25</c:v>
                </c:pt>
                <c:pt idx="193">
                  <c:v>0.25</c:v>
                </c:pt>
                <c:pt idx="194">
                  <c:v>0.25</c:v>
                </c:pt>
                <c:pt idx="195">
                  <c:v>0.25</c:v>
                </c:pt>
                <c:pt idx="196">
                  <c:v>0.25</c:v>
                </c:pt>
                <c:pt idx="197">
                  <c:v>0.25</c:v>
                </c:pt>
                <c:pt idx="198">
                  <c:v>0.25</c:v>
                </c:pt>
                <c:pt idx="199">
                  <c:v>0.25</c:v>
                </c:pt>
                <c:pt idx="200">
                  <c:v>0.25</c:v>
                </c:pt>
                <c:pt idx="201">
                  <c:v>0.25</c:v>
                </c:pt>
                <c:pt idx="202">
                  <c:v>0.25</c:v>
                </c:pt>
                <c:pt idx="203">
                  <c:v>0.25</c:v>
                </c:pt>
                <c:pt idx="204">
                  <c:v>0.25</c:v>
                </c:pt>
                <c:pt idx="205">
                  <c:v>0.25</c:v>
                </c:pt>
                <c:pt idx="206">
                  <c:v>0.25</c:v>
                </c:pt>
                <c:pt idx="207">
                  <c:v>0.25</c:v>
                </c:pt>
                <c:pt idx="208">
                  <c:v>0.25</c:v>
                </c:pt>
                <c:pt idx="209">
                  <c:v>0.5</c:v>
                </c:pt>
                <c:pt idx="210">
                  <c:v>1</c:v>
                </c:pt>
                <c:pt idx="211">
                  <c:v>1</c:v>
                </c:pt>
                <c:pt idx="212">
                  <c:v>1.5</c:v>
                </c:pt>
                <c:pt idx="213">
                  <c:v>2.5</c:v>
                </c:pt>
                <c:pt idx="214">
                  <c:v>2.5</c:v>
                </c:pt>
                <c:pt idx="215">
                  <c:v>3.25</c:v>
                </c:pt>
                <c:pt idx="216">
                  <c:v>3.75</c:v>
                </c:pt>
                <c:pt idx="217">
                  <c:v>3.75</c:v>
                </c:pt>
                <c:pt idx="218">
                  <c:v>4.25</c:v>
                </c:pt>
                <c:pt idx="219">
                  <c:v>4.5</c:v>
                </c:pt>
                <c:pt idx="220">
                  <c:v>4.5</c:v>
                </c:pt>
                <c:pt idx="221">
                  <c:v>4.5</c:v>
                </c:pt>
                <c:pt idx="222">
                  <c:v>4.5</c:v>
                </c:pt>
                <c:pt idx="223">
                  <c:v>4.5</c:v>
                </c:pt>
                <c:pt idx="224">
                  <c:v>4.75</c:v>
                </c:pt>
                <c:pt idx="225">
                  <c:v>5</c:v>
                </c:pt>
                <c:pt idx="226">
                  <c:v>5</c:v>
                </c:pt>
                <c:pt idx="227">
                  <c:v>5</c:v>
                </c:pt>
                <c:pt idx="228">
                  <c:v>5</c:v>
                </c:pt>
                <c:pt idx="229">
                  <c:v>5</c:v>
                </c:pt>
                <c:pt idx="230">
                  <c:v>5</c:v>
                </c:pt>
                <c:pt idx="231">
                  <c:v>5</c:v>
                </c:pt>
                <c:pt idx="232">
                  <c:v>5</c:v>
                </c:pt>
                <c:pt idx="233">
                  <c:v>5</c:v>
                </c:pt>
                <c:pt idx="234">
                  <c:v>5</c:v>
                </c:pt>
                <c:pt idx="235">
                  <c:v>5</c:v>
                </c:pt>
                <c:pt idx="236">
                  <c:v>4.75</c:v>
                </c:pt>
                <c:pt idx="237">
                  <c:v>4.5</c:v>
                </c:pt>
                <c:pt idx="238">
                  <c:v>4.5</c:v>
                </c:pt>
                <c:pt idx="239">
                  <c:v>4.25</c:v>
                </c:pt>
                <c:pt idx="240">
                  <c:v>3.75</c:v>
                </c:pt>
                <c:pt idx="241">
                  <c:v>3.75</c:v>
                </c:pt>
              </c:numCache>
            </c:numRef>
          </c:val>
          <c:smooth val="0"/>
          <c:extLst>
            <c:ext xmlns:c16="http://schemas.microsoft.com/office/drawing/2014/chart" uri="{C3380CC4-5D6E-409C-BE32-E72D297353CC}">
              <c16:uniqueId val="{00000001-CAA0-4B8E-82E6-F5E5587EE2F0}"/>
            </c:ext>
          </c:extLst>
        </c:ser>
        <c:dLbls>
          <c:showLegendKey val="0"/>
          <c:showVal val="0"/>
          <c:showCatName val="0"/>
          <c:showSerName val="0"/>
          <c:showPercent val="0"/>
          <c:showBubbleSize val="0"/>
        </c:dLbls>
        <c:smooth val="0"/>
        <c:axId val="496480639"/>
        <c:axId val="496490719"/>
      </c:lineChart>
      <c:dateAx>
        <c:axId val="496480639"/>
        <c:scaling>
          <c:orientation val="minMax"/>
        </c:scaling>
        <c:delete val="0"/>
        <c:axPos val="b"/>
        <c:numFmt formatCode="mmm\-yy" sourceLinked="1"/>
        <c:majorTickMark val="out"/>
        <c:minorTickMark val="none"/>
        <c:tickLblPos val="nextTo"/>
        <c:spPr>
          <a:noFill/>
          <a:ln w="317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496490719"/>
        <c:crosses val="autoZero"/>
        <c:auto val="1"/>
        <c:lblOffset val="100"/>
        <c:baseTimeUnit val="months"/>
        <c:majorUnit val="1"/>
        <c:majorTimeUnit val="years"/>
      </c:dateAx>
      <c:valAx>
        <c:axId val="496490719"/>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496480639"/>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legend>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sz="1600" b="1" dirty="0"/>
              <a:t>Cumulative returns of Canadian assets since first BoC cut</a:t>
            </a:r>
          </a:p>
          <a:p>
            <a:pPr>
              <a:defRPr b="1"/>
            </a:pPr>
            <a:r>
              <a:rPr lang="en-US" b="1" dirty="0"/>
              <a:t>(Jun</a:t>
            </a:r>
            <a:r>
              <a:rPr lang="en-US" b="1" baseline="0" dirty="0"/>
              <a:t> 5 to Oct 31)</a:t>
            </a:r>
            <a:endParaRPr lang="en-US" b="1" dirty="0"/>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F$14:$H$14</c:f>
              <c:strCache>
                <c:ptCount val="3"/>
                <c:pt idx="0">
                  <c:v>Cash</c:v>
                </c:pt>
                <c:pt idx="1">
                  <c:v>Bonds</c:v>
                </c:pt>
                <c:pt idx="2">
                  <c:v>Stocks</c:v>
                </c:pt>
              </c:strCache>
            </c:strRef>
          </c:cat>
          <c:val>
            <c:numRef>
              <c:f>Sheet1!$F$15:$H$15</c:f>
              <c:numCache>
                <c:formatCode>0.0%</c:formatCode>
                <c:ptCount val="3"/>
                <c:pt idx="0">
                  <c:v>2.0586500000000001E-2</c:v>
                </c:pt>
                <c:pt idx="1">
                  <c:v>4.7702600000000005E-2</c:v>
                </c:pt>
                <c:pt idx="2">
                  <c:v>0.1133213</c:v>
                </c:pt>
              </c:numCache>
            </c:numRef>
          </c:val>
          <c:extLst>
            <c:ext xmlns:c16="http://schemas.microsoft.com/office/drawing/2014/chart" uri="{C3380CC4-5D6E-409C-BE32-E72D297353CC}">
              <c16:uniqueId val="{00000000-978D-426D-BDBC-2D810A30292B}"/>
            </c:ext>
          </c:extLst>
        </c:ser>
        <c:dLbls>
          <c:showLegendKey val="0"/>
          <c:showVal val="0"/>
          <c:showCatName val="0"/>
          <c:showSerName val="0"/>
          <c:showPercent val="0"/>
          <c:showBubbleSize val="0"/>
        </c:dLbls>
        <c:gapWidth val="219"/>
        <c:overlap val="-27"/>
        <c:axId val="492488208"/>
        <c:axId val="492491088"/>
      </c:barChart>
      <c:catAx>
        <c:axId val="492488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492491088"/>
        <c:crosses val="autoZero"/>
        <c:auto val="1"/>
        <c:lblAlgn val="ctr"/>
        <c:lblOffset val="100"/>
        <c:noMultiLvlLbl val="0"/>
      </c:catAx>
      <c:valAx>
        <c:axId val="492491088"/>
        <c:scaling>
          <c:orientation val="minMax"/>
        </c:scaling>
        <c:delete val="1"/>
        <c:axPos val="l"/>
        <c:numFmt formatCode="0%" sourceLinked="0"/>
        <c:majorTickMark val="none"/>
        <c:minorTickMark val="none"/>
        <c:tickLblPos val="nextTo"/>
        <c:crossAx val="492488208"/>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ysClr val="windowText" lastClr="000000"/>
                </a:solidFill>
                <a:latin typeface="+mn-lt"/>
                <a:ea typeface="+mn-ea"/>
                <a:cs typeface="+mn-cs"/>
              </a:defRPr>
            </a:pPr>
            <a:r>
              <a:rPr lang="en-US" sz="1600" b="1" dirty="0">
                <a:solidFill>
                  <a:sysClr val="windowText" lastClr="000000"/>
                </a:solidFill>
              </a:rPr>
              <a:t>One</a:t>
            </a:r>
            <a:r>
              <a:rPr lang="en-US" sz="1600" b="1" baseline="0" dirty="0">
                <a:solidFill>
                  <a:sysClr val="windowText" lastClr="000000"/>
                </a:solidFill>
              </a:rPr>
              <a:t>-y</a:t>
            </a:r>
            <a:r>
              <a:rPr lang="en-US" sz="1600" b="1" dirty="0">
                <a:solidFill>
                  <a:sysClr val="windowText" lastClr="000000"/>
                </a:solidFill>
              </a:rPr>
              <a:t>ear return from various fixed income assets</a:t>
            </a:r>
          </a:p>
        </c:rich>
      </c:tx>
      <c:overlay val="0"/>
      <c:spPr>
        <a:noFill/>
        <a:ln>
          <a:noFill/>
        </a:ln>
        <a:effectLst/>
      </c:spPr>
      <c:txPr>
        <a:bodyPr rot="0" spcFirstLastPara="1" vertOverflow="ellipsis" vert="horz" wrap="square" anchor="ctr" anchorCtr="1"/>
        <a:lstStyle/>
        <a:p>
          <a:pPr>
            <a:defRPr sz="1600" b="1" i="0" u="none" strike="noStrike" kern="1200" spc="0" baseline="0">
              <a:solidFill>
                <a:sysClr val="windowText" lastClr="000000"/>
              </a:solidFill>
              <a:latin typeface="+mn-lt"/>
              <a:ea typeface="+mn-ea"/>
              <a:cs typeface="+mn-cs"/>
            </a:defRPr>
          </a:pPr>
          <a:endParaRPr lang="en-US"/>
        </a:p>
      </c:txPr>
    </c:title>
    <c:autoTitleDeleted val="0"/>
    <c:plotArea>
      <c:layout>
        <c:manualLayout>
          <c:layoutTarget val="inner"/>
          <c:xMode val="edge"/>
          <c:yMode val="edge"/>
          <c:x val="1.7852816474863722E-2"/>
          <c:y val="0.15176322091353237"/>
          <c:w val="0.95680769608324334"/>
          <c:h val="0.70583437576717234"/>
        </c:manualLayout>
      </c:layout>
      <c:barChart>
        <c:barDir val="col"/>
        <c:grouping val="clustered"/>
        <c:varyColors val="0"/>
        <c:ser>
          <c:idx val="0"/>
          <c:order val="0"/>
          <c:tx>
            <c:strRef>
              <c:f>Sheet1!$B$2:$F$2</c:f>
              <c:strCache>
                <c:ptCount val="5"/>
                <c:pt idx="0">
                  <c:v>Canadian short-term bonds</c:v>
                </c:pt>
                <c:pt idx="1">
                  <c:v>Canadian universe bonds</c:v>
                </c:pt>
                <c:pt idx="2">
                  <c:v>U.S. high yield bonds</c:v>
                </c:pt>
                <c:pt idx="3">
                  <c:v>EM bonds</c:v>
                </c:pt>
                <c:pt idx="4">
                  <c:v>Cash</c:v>
                </c:pt>
              </c:strCache>
            </c:strRef>
          </c:tx>
          <c:spPr>
            <a:solidFill>
              <a:srgbClr val="87AFBF"/>
            </a:solidFill>
            <a:ln>
              <a:noFill/>
            </a:ln>
            <a:effectLst/>
          </c:spPr>
          <c:invertIfNegative val="0"/>
          <c:dPt>
            <c:idx val="4"/>
            <c:invertIfNegative val="0"/>
            <c:bubble3D val="0"/>
            <c:spPr>
              <a:solidFill>
                <a:srgbClr val="FFC72C"/>
              </a:solidFill>
              <a:ln>
                <a:noFill/>
              </a:ln>
              <a:effectLst/>
            </c:spPr>
            <c:extLst>
              <c:ext xmlns:c16="http://schemas.microsoft.com/office/drawing/2014/chart" uri="{C3380CC4-5D6E-409C-BE32-E72D297353CC}">
                <c16:uniqueId val="{00000001-8071-4B49-83E7-06017D5E53F0}"/>
              </c:ext>
            </c:extLst>
          </c:dPt>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F$2</c:f>
              <c:strCache>
                <c:ptCount val="5"/>
                <c:pt idx="0">
                  <c:v>Canadian short-term bonds</c:v>
                </c:pt>
                <c:pt idx="1">
                  <c:v>Canadian universe bonds</c:v>
                </c:pt>
                <c:pt idx="2">
                  <c:v>U.S. high yield bonds</c:v>
                </c:pt>
                <c:pt idx="3">
                  <c:v>EM bonds</c:v>
                </c:pt>
                <c:pt idx="4">
                  <c:v>Cash</c:v>
                </c:pt>
              </c:strCache>
            </c:strRef>
          </c:cat>
          <c:val>
            <c:numRef>
              <c:f>Sheet1!$B$3:$F$3</c:f>
              <c:numCache>
                <c:formatCode>0.00%</c:formatCode>
                <c:ptCount val="5"/>
                <c:pt idx="0">
                  <c:v>8.1600000000000006E-2</c:v>
                </c:pt>
                <c:pt idx="1">
                  <c:v>0.1134</c:v>
                </c:pt>
                <c:pt idx="2">
                  <c:v>0.13819999999999999</c:v>
                </c:pt>
                <c:pt idx="3">
                  <c:v>0.16919999999999999</c:v>
                </c:pt>
                <c:pt idx="4">
                  <c:v>4.9099999999999998E-2</c:v>
                </c:pt>
              </c:numCache>
            </c:numRef>
          </c:val>
          <c:extLst>
            <c:ext xmlns:c16="http://schemas.microsoft.com/office/drawing/2014/chart" uri="{C3380CC4-5D6E-409C-BE32-E72D297353CC}">
              <c16:uniqueId val="{00000002-8071-4B49-83E7-06017D5E53F0}"/>
            </c:ext>
          </c:extLst>
        </c:ser>
        <c:dLbls>
          <c:dLblPos val="outEnd"/>
          <c:showLegendKey val="0"/>
          <c:showVal val="1"/>
          <c:showCatName val="0"/>
          <c:showSerName val="0"/>
          <c:showPercent val="0"/>
          <c:showBubbleSize val="0"/>
        </c:dLbls>
        <c:gapWidth val="100"/>
        <c:overlap val="-27"/>
        <c:axId val="984336527"/>
        <c:axId val="1178778255"/>
      </c:barChart>
      <c:catAx>
        <c:axId val="984336527"/>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178778255"/>
        <c:crosses val="autoZero"/>
        <c:auto val="1"/>
        <c:lblAlgn val="ctr"/>
        <c:lblOffset val="100"/>
        <c:noMultiLvlLbl val="0"/>
      </c:catAx>
      <c:valAx>
        <c:axId val="1178778255"/>
        <c:scaling>
          <c:orientation val="minMax"/>
        </c:scaling>
        <c:delete val="1"/>
        <c:axPos val="l"/>
        <c:numFmt formatCode="0.00%" sourceLinked="1"/>
        <c:majorTickMark val="none"/>
        <c:minorTickMark val="none"/>
        <c:tickLblPos val="nextTo"/>
        <c:crossAx val="984336527"/>
        <c:crosses val="autoZero"/>
        <c:crossBetween val="between"/>
      </c:valAx>
      <c:spPr>
        <a:noFill/>
        <a:ln>
          <a:noFill/>
        </a:ln>
        <a:effectLst/>
      </c:spPr>
    </c:plotArea>
    <c:plotVisOnly val="1"/>
    <c:dispBlanksAs val="gap"/>
    <c:showDLblsOverMax val="0"/>
    <c:extLst/>
  </c:chart>
  <c:spPr>
    <a:noFill/>
    <a:ln>
      <a:noFill/>
    </a:ln>
    <a:effectLst/>
  </c:spPr>
  <c:txPr>
    <a:bodyPr/>
    <a:lstStyle/>
    <a:p>
      <a:pPr>
        <a:defRPr sz="1050"/>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spc="0" baseline="0">
                <a:solidFill>
                  <a:schemeClr val="tx1"/>
                </a:solidFill>
                <a:latin typeface="Arial (Body)"/>
                <a:ea typeface="+mn-ea"/>
                <a:cs typeface="+mn-cs"/>
              </a:defRPr>
            </a:pPr>
            <a:r>
              <a:rPr lang="en-US" sz="1800" b="1" i="0" u="none" strike="noStrike" kern="1200" spc="0" baseline="0" dirty="0">
                <a:solidFill>
                  <a:schemeClr val="tx1"/>
                </a:solidFill>
                <a:latin typeface="Arial (Body)"/>
              </a:rPr>
              <a:t>Range of annualized returns for a diversified portfolio during easing cycles</a:t>
            </a:r>
          </a:p>
        </c:rich>
      </c:tx>
      <c:overlay val="0"/>
      <c:spPr>
        <a:noFill/>
        <a:ln>
          <a:noFill/>
        </a:ln>
        <a:effectLst/>
      </c:spPr>
      <c:txPr>
        <a:bodyPr rot="0" spcFirstLastPara="1" vertOverflow="ellipsis" vert="horz" wrap="square" anchor="ctr" anchorCtr="1"/>
        <a:lstStyle/>
        <a:p>
          <a:pPr>
            <a:defRPr sz="1800" b="1" i="0" u="none" strike="noStrike" kern="1200" spc="0" baseline="0">
              <a:solidFill>
                <a:schemeClr val="tx1"/>
              </a:solidFill>
              <a:latin typeface="Arial (Body)"/>
              <a:ea typeface="+mn-ea"/>
              <a:cs typeface="+mn-cs"/>
            </a:defRPr>
          </a:pPr>
          <a:endParaRPr lang="en-US"/>
        </a:p>
      </c:txPr>
    </c:title>
    <c:autoTitleDeleted val="0"/>
    <c:plotArea>
      <c:layout>
        <c:manualLayout>
          <c:layoutTarget val="inner"/>
          <c:xMode val="edge"/>
          <c:yMode val="edge"/>
          <c:x val="6.2059265932617055E-2"/>
          <c:y val="0"/>
          <c:w val="0.87588146813476586"/>
          <c:h val="1"/>
        </c:manualLayout>
      </c:layout>
      <c:stockChart>
        <c:ser>
          <c:idx val="0"/>
          <c:order val="0"/>
          <c:tx>
            <c:strRef>
              <c:f>'GIO bal returns'!$Q$4</c:f>
              <c:strCache>
                <c:ptCount val="1"/>
                <c:pt idx="0">
                  <c:v>Highest</c:v>
                </c:pt>
              </c:strCache>
            </c:strRef>
          </c:tx>
          <c:spPr>
            <a:ln w="19050" cap="rnd">
              <a:noFill/>
              <a:round/>
            </a:ln>
            <a:effectLst/>
          </c:spPr>
          <c:marker>
            <c:symbol val="dash"/>
            <c:size val="8"/>
            <c:spPr>
              <a:solidFill>
                <a:schemeClr val="accent1">
                  <a:alpha val="95000"/>
                </a:schemeClr>
              </a:solidFill>
              <a:ln w="9525">
                <a:noFill/>
              </a:ln>
              <a:effectLst/>
            </c:spPr>
          </c:marker>
          <c:dLbls>
            <c:delete val="1"/>
          </c:dLbls>
          <c:cat>
            <c:strRef>
              <c:f>'GIO bal returns'!$P$5:$P$8</c:f>
              <c:strCache>
                <c:ptCount val="4"/>
                <c:pt idx="0">
                  <c:v>No recession</c:v>
                </c:pt>
                <c:pt idx="1">
                  <c:v>Recession</c:v>
                </c:pt>
                <c:pt idx="2">
                  <c:v>No recession</c:v>
                </c:pt>
                <c:pt idx="3">
                  <c:v>Recession</c:v>
                </c:pt>
              </c:strCache>
            </c:strRef>
          </c:cat>
          <c:val>
            <c:numRef>
              <c:f>'GIO bal returns'!$Q$5:$Q$8</c:f>
              <c:numCache>
                <c:formatCode>0.0%</c:formatCode>
                <c:ptCount val="4"/>
                <c:pt idx="0">
                  <c:v>0.16906650805606116</c:v>
                </c:pt>
                <c:pt idx="1">
                  <c:v>9.3019244179336935E-2</c:v>
                </c:pt>
                <c:pt idx="2">
                  <c:v>0.14608479134245234</c:v>
                </c:pt>
                <c:pt idx="3">
                  <c:v>0.11204159190245577</c:v>
                </c:pt>
              </c:numCache>
            </c:numRef>
          </c:val>
          <c:smooth val="0"/>
          <c:extLst>
            <c:ext xmlns:c16="http://schemas.microsoft.com/office/drawing/2014/chart" uri="{C3380CC4-5D6E-409C-BE32-E72D297353CC}">
              <c16:uniqueId val="{00000000-CBC0-4564-ABC0-30DDB03E71DB}"/>
            </c:ext>
          </c:extLst>
        </c:ser>
        <c:ser>
          <c:idx val="1"/>
          <c:order val="1"/>
          <c:tx>
            <c:strRef>
              <c:f>'GIO bal returns'!$R$4</c:f>
              <c:strCache>
                <c:ptCount val="1"/>
                <c:pt idx="0">
                  <c:v>Lowest</c:v>
                </c:pt>
              </c:strCache>
            </c:strRef>
          </c:tx>
          <c:spPr>
            <a:ln w="19050" cap="rnd">
              <a:noFill/>
              <a:round/>
            </a:ln>
            <a:effectLst/>
          </c:spPr>
          <c:marker>
            <c:symbol val="dash"/>
            <c:size val="8"/>
            <c:spPr>
              <a:solidFill>
                <a:schemeClr val="accent1"/>
              </a:solidFill>
              <a:ln w="9525">
                <a:noFill/>
              </a:ln>
              <a:effectLst/>
            </c:spPr>
          </c:marker>
          <c:dLbls>
            <c:delete val="1"/>
          </c:dLbls>
          <c:cat>
            <c:strRef>
              <c:f>'GIO bal returns'!$P$5:$P$8</c:f>
              <c:strCache>
                <c:ptCount val="4"/>
                <c:pt idx="0">
                  <c:v>No recession</c:v>
                </c:pt>
                <c:pt idx="1">
                  <c:v>Recession</c:v>
                </c:pt>
                <c:pt idx="2">
                  <c:v>No recession</c:v>
                </c:pt>
                <c:pt idx="3">
                  <c:v>Recession</c:v>
                </c:pt>
              </c:strCache>
            </c:strRef>
          </c:cat>
          <c:val>
            <c:numRef>
              <c:f>'GIO bal returns'!$R$5:$R$8</c:f>
              <c:numCache>
                <c:formatCode>0.0%</c:formatCode>
                <c:ptCount val="4"/>
                <c:pt idx="0">
                  <c:v>4.9282710288451215E-2</c:v>
                </c:pt>
                <c:pt idx="1">
                  <c:v>2.0835204895504056E-3</c:v>
                </c:pt>
                <c:pt idx="2">
                  <c:v>3.9208304410413453E-2</c:v>
                </c:pt>
                <c:pt idx="3">
                  <c:v>2.4191955477908866E-2</c:v>
                </c:pt>
              </c:numCache>
            </c:numRef>
          </c:val>
          <c:smooth val="0"/>
          <c:extLst>
            <c:ext xmlns:c16="http://schemas.microsoft.com/office/drawing/2014/chart" uri="{C3380CC4-5D6E-409C-BE32-E72D297353CC}">
              <c16:uniqueId val="{00000001-CBC0-4564-ABC0-30DDB03E71DB}"/>
            </c:ext>
          </c:extLst>
        </c:ser>
        <c:ser>
          <c:idx val="2"/>
          <c:order val="2"/>
          <c:tx>
            <c:strRef>
              <c:f>'GIO bal returns'!$S$4</c:f>
              <c:strCache>
                <c:ptCount val="1"/>
                <c:pt idx="0">
                  <c:v>Average</c:v>
                </c:pt>
              </c:strCache>
            </c:strRef>
          </c:tx>
          <c:spPr>
            <a:ln w="19050" cap="rnd">
              <a:noFill/>
              <a:round/>
            </a:ln>
            <a:effectLst/>
          </c:spPr>
          <c:marker>
            <c:symbol val="circle"/>
            <c:size val="10"/>
            <c:spPr>
              <a:solidFill>
                <a:schemeClr val="accent3"/>
              </a:solidFill>
              <a:ln w="9525">
                <a:solidFill>
                  <a:schemeClr val="accent3"/>
                </a:solidFill>
              </a:ln>
              <a:effectLst/>
            </c:spPr>
          </c:marker>
          <c:dPt>
            <c:idx val="0"/>
            <c:marker>
              <c:symbol val="circle"/>
              <c:size val="15"/>
              <c:spPr>
                <a:solidFill>
                  <a:schemeClr val="accent1"/>
                </a:solidFill>
                <a:ln w="9525">
                  <a:noFill/>
                </a:ln>
                <a:effectLst/>
              </c:spPr>
            </c:marker>
            <c:bubble3D val="0"/>
            <c:extLst>
              <c:ext xmlns:c16="http://schemas.microsoft.com/office/drawing/2014/chart" uri="{C3380CC4-5D6E-409C-BE32-E72D297353CC}">
                <c16:uniqueId val="{00000002-CBC0-4564-ABC0-30DDB03E71DB}"/>
              </c:ext>
            </c:extLst>
          </c:dPt>
          <c:dPt>
            <c:idx val="1"/>
            <c:marker>
              <c:symbol val="circle"/>
              <c:size val="15"/>
              <c:spPr>
                <a:solidFill>
                  <a:schemeClr val="accent2"/>
                </a:solidFill>
                <a:ln w="9525">
                  <a:noFill/>
                </a:ln>
                <a:effectLst/>
              </c:spPr>
            </c:marker>
            <c:bubble3D val="0"/>
            <c:extLst>
              <c:ext xmlns:c16="http://schemas.microsoft.com/office/drawing/2014/chart" uri="{C3380CC4-5D6E-409C-BE32-E72D297353CC}">
                <c16:uniqueId val="{00000003-CBC0-4564-ABC0-30DDB03E71DB}"/>
              </c:ext>
            </c:extLst>
          </c:dPt>
          <c:dPt>
            <c:idx val="2"/>
            <c:marker>
              <c:symbol val="circle"/>
              <c:size val="15"/>
              <c:spPr>
                <a:solidFill>
                  <a:schemeClr val="accent1"/>
                </a:solidFill>
                <a:ln w="9525">
                  <a:noFill/>
                </a:ln>
                <a:effectLst/>
              </c:spPr>
            </c:marker>
            <c:bubble3D val="0"/>
            <c:extLst>
              <c:ext xmlns:c16="http://schemas.microsoft.com/office/drawing/2014/chart" uri="{C3380CC4-5D6E-409C-BE32-E72D297353CC}">
                <c16:uniqueId val="{00000004-CBC0-4564-ABC0-30DDB03E71DB}"/>
              </c:ext>
            </c:extLst>
          </c:dPt>
          <c:dPt>
            <c:idx val="3"/>
            <c:marker>
              <c:symbol val="circle"/>
              <c:size val="15"/>
              <c:spPr>
                <a:solidFill>
                  <a:schemeClr val="accent2"/>
                </a:solidFill>
                <a:ln w="9525">
                  <a:noFill/>
                </a:ln>
                <a:effectLst/>
              </c:spPr>
            </c:marker>
            <c:bubble3D val="0"/>
            <c:extLst>
              <c:ext xmlns:c16="http://schemas.microsoft.com/office/drawing/2014/chart" uri="{C3380CC4-5D6E-409C-BE32-E72D297353CC}">
                <c16:uniqueId val="{00000005-CBC0-4564-ABC0-30DDB03E71DB}"/>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Arial (Body)"/>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IO bal returns'!$P$5:$P$8</c:f>
              <c:strCache>
                <c:ptCount val="4"/>
                <c:pt idx="0">
                  <c:v>No recession</c:v>
                </c:pt>
                <c:pt idx="1">
                  <c:v>Recession</c:v>
                </c:pt>
                <c:pt idx="2">
                  <c:v>No recession</c:v>
                </c:pt>
                <c:pt idx="3">
                  <c:v>Recession</c:v>
                </c:pt>
              </c:strCache>
            </c:strRef>
          </c:cat>
          <c:val>
            <c:numRef>
              <c:f>'GIO bal returns'!$S$5:$S$8</c:f>
              <c:numCache>
                <c:formatCode>0.0%</c:formatCode>
                <c:ptCount val="4"/>
                <c:pt idx="0">
                  <c:v>0.10917460917225619</c:v>
                </c:pt>
                <c:pt idx="1">
                  <c:v>3.657301727692519E-2</c:v>
                </c:pt>
                <c:pt idx="2">
                  <c:v>9.2646547876432894E-2</c:v>
                </c:pt>
                <c:pt idx="3">
                  <c:v>6.1507194886798455E-2</c:v>
                </c:pt>
              </c:numCache>
            </c:numRef>
          </c:val>
          <c:smooth val="0"/>
          <c:extLst>
            <c:ext xmlns:c16="http://schemas.microsoft.com/office/drawing/2014/chart" uri="{C3380CC4-5D6E-409C-BE32-E72D297353CC}">
              <c16:uniqueId val="{00000006-CBC0-4564-ABC0-30DDB03E71DB}"/>
            </c:ext>
          </c:extLst>
        </c:ser>
        <c:dLbls>
          <c:showLegendKey val="0"/>
          <c:showVal val="1"/>
          <c:showCatName val="0"/>
          <c:showSerName val="0"/>
          <c:showPercent val="0"/>
          <c:showBubbleSize val="0"/>
        </c:dLbls>
        <c:hiLowLines>
          <c:spPr>
            <a:ln w="19050" cap="flat" cmpd="sng" algn="ctr">
              <a:solidFill>
                <a:srgbClr val="000000"/>
              </a:solidFill>
              <a:round/>
            </a:ln>
            <a:effectLst/>
          </c:spPr>
        </c:hiLowLines>
        <c:axId val="1562740768"/>
        <c:axId val="1562739328"/>
      </c:stockChart>
      <c:catAx>
        <c:axId val="156274076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62739328"/>
        <c:crosses val="autoZero"/>
        <c:auto val="0"/>
        <c:lblAlgn val="ctr"/>
        <c:lblOffset val="200"/>
        <c:noMultiLvlLbl val="0"/>
      </c:catAx>
      <c:valAx>
        <c:axId val="1562739328"/>
        <c:scaling>
          <c:orientation val="minMax"/>
          <c:max val="0.35000000000000003"/>
          <c:min val="-0.1"/>
        </c:scaling>
        <c:delete val="1"/>
        <c:axPos val="l"/>
        <c:numFmt formatCode="0.0%" sourceLinked="1"/>
        <c:majorTickMark val="out"/>
        <c:minorTickMark val="none"/>
        <c:tickLblPos val="nextTo"/>
        <c:crossAx val="15627407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userShapes r:id="rId5"/>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500" b="0" i="0" u="none" strike="noStrike" kern="1200" spc="0" baseline="0">
                <a:solidFill>
                  <a:schemeClr val="tx1">
                    <a:lumMod val="65000"/>
                    <a:lumOff val="35000"/>
                  </a:schemeClr>
                </a:solidFill>
                <a:latin typeface="+mn-lt"/>
                <a:ea typeface="+mn-ea"/>
                <a:cs typeface="+mn-cs"/>
              </a:defRPr>
            </a:pPr>
            <a:r>
              <a:rPr lang="en-US" sz="1600" b="1" dirty="0">
                <a:solidFill>
                  <a:schemeClr val="tx1"/>
                </a:solidFill>
              </a:rPr>
              <a:t>Subsequent two years of S&amp;P 500 bull markets since 1970</a:t>
            </a:r>
          </a:p>
        </c:rich>
      </c:tx>
      <c:overlay val="0"/>
      <c:spPr>
        <a:noFill/>
        <a:ln>
          <a:noFill/>
        </a:ln>
        <a:effectLst/>
      </c:spPr>
      <c:txPr>
        <a:bodyPr rot="0" spcFirstLastPara="1" vertOverflow="ellipsis" vert="horz" wrap="square" anchor="ctr" anchorCtr="1"/>
        <a:lstStyle/>
        <a:p>
          <a:pPr>
            <a:defRPr sz="15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0348643919510062"/>
          <c:y val="0.18101851851851855"/>
          <c:w val="0.84605861767279089"/>
          <c:h val="0.67787037037037035"/>
        </c:manualLayout>
      </c:layout>
      <c:lineChart>
        <c:grouping val="standard"/>
        <c:varyColors val="0"/>
        <c:ser>
          <c:idx val="3"/>
          <c:order val="3"/>
          <c:tx>
            <c:strRef>
              <c:f>Chart!$E$4</c:f>
              <c:strCache>
                <c:ptCount val="1"/>
                <c:pt idx="0">
                  <c:v>May '70</c:v>
                </c:pt>
              </c:strCache>
            </c:strRef>
          </c:tx>
          <c:spPr>
            <a:ln w="15875" cap="rnd">
              <a:solidFill>
                <a:schemeClr val="accent4"/>
              </a:solidFill>
              <a:round/>
            </a:ln>
            <a:effectLst/>
          </c:spPr>
          <c:marker>
            <c:symbol val="none"/>
          </c:marker>
          <c:cat>
            <c:numRef>
              <c:f>Chart!$A$5:$A$513</c:f>
              <c:numCache>
                <c:formatCode>General</c:formatCode>
                <c:ptCount val="50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pt idx="100">
                  <c:v>101</c:v>
                </c:pt>
                <c:pt idx="101">
                  <c:v>102</c:v>
                </c:pt>
                <c:pt idx="102">
                  <c:v>103</c:v>
                </c:pt>
                <c:pt idx="103">
                  <c:v>104</c:v>
                </c:pt>
                <c:pt idx="104">
                  <c:v>105</c:v>
                </c:pt>
                <c:pt idx="105">
                  <c:v>106</c:v>
                </c:pt>
                <c:pt idx="106">
                  <c:v>107</c:v>
                </c:pt>
                <c:pt idx="107">
                  <c:v>108</c:v>
                </c:pt>
                <c:pt idx="108">
                  <c:v>109</c:v>
                </c:pt>
                <c:pt idx="109">
                  <c:v>110</c:v>
                </c:pt>
                <c:pt idx="110">
                  <c:v>111</c:v>
                </c:pt>
                <c:pt idx="111">
                  <c:v>112</c:v>
                </c:pt>
                <c:pt idx="112">
                  <c:v>113</c:v>
                </c:pt>
                <c:pt idx="113">
                  <c:v>114</c:v>
                </c:pt>
                <c:pt idx="114">
                  <c:v>115</c:v>
                </c:pt>
                <c:pt idx="115">
                  <c:v>116</c:v>
                </c:pt>
                <c:pt idx="116">
                  <c:v>117</c:v>
                </c:pt>
                <c:pt idx="117">
                  <c:v>118</c:v>
                </c:pt>
                <c:pt idx="118">
                  <c:v>119</c:v>
                </c:pt>
                <c:pt idx="119">
                  <c:v>120</c:v>
                </c:pt>
                <c:pt idx="120">
                  <c:v>121</c:v>
                </c:pt>
                <c:pt idx="121">
                  <c:v>122</c:v>
                </c:pt>
                <c:pt idx="122">
                  <c:v>123</c:v>
                </c:pt>
                <c:pt idx="123">
                  <c:v>124</c:v>
                </c:pt>
                <c:pt idx="124">
                  <c:v>125</c:v>
                </c:pt>
                <c:pt idx="125">
                  <c:v>126</c:v>
                </c:pt>
                <c:pt idx="126">
                  <c:v>127</c:v>
                </c:pt>
                <c:pt idx="127">
                  <c:v>128</c:v>
                </c:pt>
                <c:pt idx="128">
                  <c:v>129</c:v>
                </c:pt>
                <c:pt idx="129">
                  <c:v>130</c:v>
                </c:pt>
                <c:pt idx="130">
                  <c:v>131</c:v>
                </c:pt>
                <c:pt idx="131">
                  <c:v>132</c:v>
                </c:pt>
                <c:pt idx="132">
                  <c:v>133</c:v>
                </c:pt>
                <c:pt idx="133">
                  <c:v>134</c:v>
                </c:pt>
                <c:pt idx="134">
                  <c:v>135</c:v>
                </c:pt>
                <c:pt idx="135">
                  <c:v>136</c:v>
                </c:pt>
                <c:pt idx="136">
                  <c:v>137</c:v>
                </c:pt>
                <c:pt idx="137">
                  <c:v>138</c:v>
                </c:pt>
                <c:pt idx="138">
                  <c:v>139</c:v>
                </c:pt>
                <c:pt idx="139">
                  <c:v>140</c:v>
                </c:pt>
                <c:pt idx="140">
                  <c:v>141</c:v>
                </c:pt>
                <c:pt idx="141">
                  <c:v>142</c:v>
                </c:pt>
                <c:pt idx="142">
                  <c:v>143</c:v>
                </c:pt>
                <c:pt idx="143">
                  <c:v>144</c:v>
                </c:pt>
                <c:pt idx="144">
                  <c:v>145</c:v>
                </c:pt>
                <c:pt idx="145">
                  <c:v>146</c:v>
                </c:pt>
                <c:pt idx="146">
                  <c:v>147</c:v>
                </c:pt>
                <c:pt idx="147">
                  <c:v>148</c:v>
                </c:pt>
                <c:pt idx="148">
                  <c:v>149</c:v>
                </c:pt>
                <c:pt idx="149">
                  <c:v>150</c:v>
                </c:pt>
                <c:pt idx="150">
                  <c:v>151</c:v>
                </c:pt>
                <c:pt idx="151">
                  <c:v>152</c:v>
                </c:pt>
                <c:pt idx="152">
                  <c:v>153</c:v>
                </c:pt>
                <c:pt idx="153">
                  <c:v>154</c:v>
                </c:pt>
                <c:pt idx="154">
                  <c:v>155</c:v>
                </c:pt>
                <c:pt idx="155">
                  <c:v>156</c:v>
                </c:pt>
                <c:pt idx="156">
                  <c:v>157</c:v>
                </c:pt>
                <c:pt idx="157">
                  <c:v>158</c:v>
                </c:pt>
                <c:pt idx="158">
                  <c:v>159</c:v>
                </c:pt>
                <c:pt idx="159">
                  <c:v>160</c:v>
                </c:pt>
                <c:pt idx="160">
                  <c:v>161</c:v>
                </c:pt>
                <c:pt idx="161">
                  <c:v>162</c:v>
                </c:pt>
                <c:pt idx="162">
                  <c:v>163</c:v>
                </c:pt>
                <c:pt idx="163">
                  <c:v>164</c:v>
                </c:pt>
                <c:pt idx="164">
                  <c:v>165</c:v>
                </c:pt>
                <c:pt idx="165">
                  <c:v>166</c:v>
                </c:pt>
                <c:pt idx="166">
                  <c:v>167</c:v>
                </c:pt>
                <c:pt idx="167">
                  <c:v>168</c:v>
                </c:pt>
                <c:pt idx="168">
                  <c:v>169</c:v>
                </c:pt>
                <c:pt idx="169">
                  <c:v>170</c:v>
                </c:pt>
                <c:pt idx="170">
                  <c:v>171</c:v>
                </c:pt>
                <c:pt idx="171">
                  <c:v>172</c:v>
                </c:pt>
                <c:pt idx="172">
                  <c:v>173</c:v>
                </c:pt>
                <c:pt idx="173">
                  <c:v>174</c:v>
                </c:pt>
                <c:pt idx="174">
                  <c:v>175</c:v>
                </c:pt>
                <c:pt idx="175">
                  <c:v>176</c:v>
                </c:pt>
                <c:pt idx="176">
                  <c:v>177</c:v>
                </c:pt>
                <c:pt idx="177">
                  <c:v>178</c:v>
                </c:pt>
                <c:pt idx="178">
                  <c:v>179</c:v>
                </c:pt>
                <c:pt idx="179">
                  <c:v>180</c:v>
                </c:pt>
                <c:pt idx="180">
                  <c:v>181</c:v>
                </c:pt>
                <c:pt idx="181">
                  <c:v>182</c:v>
                </c:pt>
                <c:pt idx="182">
                  <c:v>183</c:v>
                </c:pt>
                <c:pt idx="183">
                  <c:v>184</c:v>
                </c:pt>
                <c:pt idx="184">
                  <c:v>185</c:v>
                </c:pt>
                <c:pt idx="185">
                  <c:v>186</c:v>
                </c:pt>
                <c:pt idx="186">
                  <c:v>187</c:v>
                </c:pt>
                <c:pt idx="187">
                  <c:v>188</c:v>
                </c:pt>
                <c:pt idx="188">
                  <c:v>189</c:v>
                </c:pt>
                <c:pt idx="189">
                  <c:v>190</c:v>
                </c:pt>
                <c:pt idx="190">
                  <c:v>191</c:v>
                </c:pt>
                <c:pt idx="191">
                  <c:v>192</c:v>
                </c:pt>
                <c:pt idx="192">
                  <c:v>193</c:v>
                </c:pt>
                <c:pt idx="193">
                  <c:v>194</c:v>
                </c:pt>
                <c:pt idx="194">
                  <c:v>195</c:v>
                </c:pt>
                <c:pt idx="195">
                  <c:v>196</c:v>
                </c:pt>
                <c:pt idx="196">
                  <c:v>197</c:v>
                </c:pt>
                <c:pt idx="197">
                  <c:v>198</c:v>
                </c:pt>
                <c:pt idx="198">
                  <c:v>199</c:v>
                </c:pt>
                <c:pt idx="199">
                  <c:v>200</c:v>
                </c:pt>
                <c:pt idx="200">
                  <c:v>201</c:v>
                </c:pt>
                <c:pt idx="201">
                  <c:v>202</c:v>
                </c:pt>
                <c:pt idx="202">
                  <c:v>203</c:v>
                </c:pt>
                <c:pt idx="203">
                  <c:v>204</c:v>
                </c:pt>
                <c:pt idx="204">
                  <c:v>205</c:v>
                </c:pt>
                <c:pt idx="205">
                  <c:v>206</c:v>
                </c:pt>
                <c:pt idx="206">
                  <c:v>207</c:v>
                </c:pt>
                <c:pt idx="207">
                  <c:v>208</c:v>
                </c:pt>
                <c:pt idx="208">
                  <c:v>209</c:v>
                </c:pt>
                <c:pt idx="209">
                  <c:v>210</c:v>
                </c:pt>
                <c:pt idx="210">
                  <c:v>211</c:v>
                </c:pt>
                <c:pt idx="211">
                  <c:v>212</c:v>
                </c:pt>
                <c:pt idx="212">
                  <c:v>213</c:v>
                </c:pt>
                <c:pt idx="213">
                  <c:v>214</c:v>
                </c:pt>
                <c:pt idx="214">
                  <c:v>215</c:v>
                </c:pt>
                <c:pt idx="215">
                  <c:v>216</c:v>
                </c:pt>
                <c:pt idx="216">
                  <c:v>217</c:v>
                </c:pt>
                <c:pt idx="217">
                  <c:v>218</c:v>
                </c:pt>
                <c:pt idx="218">
                  <c:v>219</c:v>
                </c:pt>
                <c:pt idx="219">
                  <c:v>220</c:v>
                </c:pt>
                <c:pt idx="220">
                  <c:v>221</c:v>
                </c:pt>
                <c:pt idx="221">
                  <c:v>222</c:v>
                </c:pt>
                <c:pt idx="222">
                  <c:v>223</c:v>
                </c:pt>
                <c:pt idx="223">
                  <c:v>224</c:v>
                </c:pt>
                <c:pt idx="224">
                  <c:v>225</c:v>
                </c:pt>
                <c:pt idx="225">
                  <c:v>226</c:v>
                </c:pt>
                <c:pt idx="226">
                  <c:v>227</c:v>
                </c:pt>
                <c:pt idx="227">
                  <c:v>228</c:v>
                </c:pt>
                <c:pt idx="228">
                  <c:v>229</c:v>
                </c:pt>
                <c:pt idx="229">
                  <c:v>230</c:v>
                </c:pt>
                <c:pt idx="230">
                  <c:v>231</c:v>
                </c:pt>
                <c:pt idx="231">
                  <c:v>232</c:v>
                </c:pt>
                <c:pt idx="232">
                  <c:v>233</c:v>
                </c:pt>
                <c:pt idx="233">
                  <c:v>234</c:v>
                </c:pt>
                <c:pt idx="234">
                  <c:v>235</c:v>
                </c:pt>
                <c:pt idx="235">
                  <c:v>236</c:v>
                </c:pt>
                <c:pt idx="236">
                  <c:v>237</c:v>
                </c:pt>
                <c:pt idx="237">
                  <c:v>238</c:v>
                </c:pt>
                <c:pt idx="238">
                  <c:v>239</c:v>
                </c:pt>
                <c:pt idx="239">
                  <c:v>240</c:v>
                </c:pt>
                <c:pt idx="240">
                  <c:v>241</c:v>
                </c:pt>
                <c:pt idx="241">
                  <c:v>242</c:v>
                </c:pt>
                <c:pt idx="242">
                  <c:v>243</c:v>
                </c:pt>
                <c:pt idx="243">
                  <c:v>244</c:v>
                </c:pt>
                <c:pt idx="244">
                  <c:v>245</c:v>
                </c:pt>
                <c:pt idx="245">
                  <c:v>246</c:v>
                </c:pt>
                <c:pt idx="246">
                  <c:v>247</c:v>
                </c:pt>
                <c:pt idx="247">
                  <c:v>248</c:v>
                </c:pt>
                <c:pt idx="248">
                  <c:v>249</c:v>
                </c:pt>
                <c:pt idx="249">
                  <c:v>250</c:v>
                </c:pt>
                <c:pt idx="250">
                  <c:v>251</c:v>
                </c:pt>
                <c:pt idx="251">
                  <c:v>252</c:v>
                </c:pt>
                <c:pt idx="252">
                  <c:v>253</c:v>
                </c:pt>
                <c:pt idx="253">
                  <c:v>254</c:v>
                </c:pt>
                <c:pt idx="254">
                  <c:v>255</c:v>
                </c:pt>
                <c:pt idx="255">
                  <c:v>256</c:v>
                </c:pt>
                <c:pt idx="256">
                  <c:v>257</c:v>
                </c:pt>
                <c:pt idx="257">
                  <c:v>258</c:v>
                </c:pt>
                <c:pt idx="258">
                  <c:v>259</c:v>
                </c:pt>
                <c:pt idx="259">
                  <c:v>260</c:v>
                </c:pt>
                <c:pt idx="260">
                  <c:v>261</c:v>
                </c:pt>
                <c:pt idx="261">
                  <c:v>262</c:v>
                </c:pt>
                <c:pt idx="262">
                  <c:v>263</c:v>
                </c:pt>
                <c:pt idx="263">
                  <c:v>264</c:v>
                </c:pt>
                <c:pt idx="264">
                  <c:v>265</c:v>
                </c:pt>
                <c:pt idx="265">
                  <c:v>266</c:v>
                </c:pt>
                <c:pt idx="266">
                  <c:v>267</c:v>
                </c:pt>
                <c:pt idx="267">
                  <c:v>268</c:v>
                </c:pt>
                <c:pt idx="268">
                  <c:v>269</c:v>
                </c:pt>
                <c:pt idx="269">
                  <c:v>270</c:v>
                </c:pt>
                <c:pt idx="270">
                  <c:v>271</c:v>
                </c:pt>
                <c:pt idx="271">
                  <c:v>272</c:v>
                </c:pt>
                <c:pt idx="272">
                  <c:v>273</c:v>
                </c:pt>
                <c:pt idx="273">
                  <c:v>274</c:v>
                </c:pt>
                <c:pt idx="274">
                  <c:v>275</c:v>
                </c:pt>
                <c:pt idx="275">
                  <c:v>276</c:v>
                </c:pt>
                <c:pt idx="276">
                  <c:v>277</c:v>
                </c:pt>
                <c:pt idx="277">
                  <c:v>278</c:v>
                </c:pt>
                <c:pt idx="278">
                  <c:v>279</c:v>
                </c:pt>
                <c:pt idx="279">
                  <c:v>280</c:v>
                </c:pt>
                <c:pt idx="280">
                  <c:v>281</c:v>
                </c:pt>
                <c:pt idx="281">
                  <c:v>282</c:v>
                </c:pt>
                <c:pt idx="282">
                  <c:v>283</c:v>
                </c:pt>
                <c:pt idx="283">
                  <c:v>284</c:v>
                </c:pt>
                <c:pt idx="284">
                  <c:v>285</c:v>
                </c:pt>
                <c:pt idx="285">
                  <c:v>286</c:v>
                </c:pt>
                <c:pt idx="286">
                  <c:v>287</c:v>
                </c:pt>
                <c:pt idx="287">
                  <c:v>288</c:v>
                </c:pt>
                <c:pt idx="288">
                  <c:v>289</c:v>
                </c:pt>
                <c:pt idx="289">
                  <c:v>290</c:v>
                </c:pt>
                <c:pt idx="290">
                  <c:v>291</c:v>
                </c:pt>
                <c:pt idx="291">
                  <c:v>292</c:v>
                </c:pt>
                <c:pt idx="292">
                  <c:v>293</c:v>
                </c:pt>
                <c:pt idx="293">
                  <c:v>294</c:v>
                </c:pt>
                <c:pt idx="294">
                  <c:v>295</c:v>
                </c:pt>
                <c:pt idx="295">
                  <c:v>296</c:v>
                </c:pt>
                <c:pt idx="296">
                  <c:v>297</c:v>
                </c:pt>
                <c:pt idx="297">
                  <c:v>298</c:v>
                </c:pt>
                <c:pt idx="298">
                  <c:v>299</c:v>
                </c:pt>
                <c:pt idx="299">
                  <c:v>300</c:v>
                </c:pt>
                <c:pt idx="300">
                  <c:v>301</c:v>
                </c:pt>
                <c:pt idx="301">
                  <c:v>302</c:v>
                </c:pt>
                <c:pt idx="302">
                  <c:v>303</c:v>
                </c:pt>
                <c:pt idx="303">
                  <c:v>304</c:v>
                </c:pt>
                <c:pt idx="304">
                  <c:v>305</c:v>
                </c:pt>
                <c:pt idx="305">
                  <c:v>306</c:v>
                </c:pt>
                <c:pt idx="306">
                  <c:v>307</c:v>
                </c:pt>
                <c:pt idx="307">
                  <c:v>308</c:v>
                </c:pt>
                <c:pt idx="308">
                  <c:v>309</c:v>
                </c:pt>
                <c:pt idx="309">
                  <c:v>310</c:v>
                </c:pt>
                <c:pt idx="310">
                  <c:v>311</c:v>
                </c:pt>
                <c:pt idx="311">
                  <c:v>312</c:v>
                </c:pt>
                <c:pt idx="312">
                  <c:v>313</c:v>
                </c:pt>
                <c:pt idx="313">
                  <c:v>314</c:v>
                </c:pt>
                <c:pt idx="314">
                  <c:v>315</c:v>
                </c:pt>
                <c:pt idx="315">
                  <c:v>316</c:v>
                </c:pt>
                <c:pt idx="316">
                  <c:v>317</c:v>
                </c:pt>
                <c:pt idx="317">
                  <c:v>318</c:v>
                </c:pt>
                <c:pt idx="318">
                  <c:v>319</c:v>
                </c:pt>
                <c:pt idx="319">
                  <c:v>320</c:v>
                </c:pt>
                <c:pt idx="320">
                  <c:v>321</c:v>
                </c:pt>
                <c:pt idx="321">
                  <c:v>322</c:v>
                </c:pt>
                <c:pt idx="322">
                  <c:v>323</c:v>
                </c:pt>
                <c:pt idx="323">
                  <c:v>324</c:v>
                </c:pt>
                <c:pt idx="324">
                  <c:v>325</c:v>
                </c:pt>
                <c:pt idx="325">
                  <c:v>326</c:v>
                </c:pt>
                <c:pt idx="326">
                  <c:v>327</c:v>
                </c:pt>
                <c:pt idx="327">
                  <c:v>328</c:v>
                </c:pt>
                <c:pt idx="328">
                  <c:v>329</c:v>
                </c:pt>
                <c:pt idx="329">
                  <c:v>330</c:v>
                </c:pt>
                <c:pt idx="330">
                  <c:v>331</c:v>
                </c:pt>
                <c:pt idx="331">
                  <c:v>332</c:v>
                </c:pt>
                <c:pt idx="332">
                  <c:v>333</c:v>
                </c:pt>
                <c:pt idx="333">
                  <c:v>334</c:v>
                </c:pt>
                <c:pt idx="334">
                  <c:v>335</c:v>
                </c:pt>
                <c:pt idx="335">
                  <c:v>336</c:v>
                </c:pt>
                <c:pt idx="336">
                  <c:v>337</c:v>
                </c:pt>
                <c:pt idx="337">
                  <c:v>338</c:v>
                </c:pt>
                <c:pt idx="338">
                  <c:v>339</c:v>
                </c:pt>
                <c:pt idx="339">
                  <c:v>340</c:v>
                </c:pt>
                <c:pt idx="340">
                  <c:v>341</c:v>
                </c:pt>
                <c:pt idx="341">
                  <c:v>342</c:v>
                </c:pt>
                <c:pt idx="342">
                  <c:v>343</c:v>
                </c:pt>
                <c:pt idx="343">
                  <c:v>344</c:v>
                </c:pt>
                <c:pt idx="344">
                  <c:v>345</c:v>
                </c:pt>
                <c:pt idx="345">
                  <c:v>346</c:v>
                </c:pt>
                <c:pt idx="346">
                  <c:v>347</c:v>
                </c:pt>
                <c:pt idx="347">
                  <c:v>348</c:v>
                </c:pt>
                <c:pt idx="348">
                  <c:v>349</c:v>
                </c:pt>
                <c:pt idx="349">
                  <c:v>350</c:v>
                </c:pt>
                <c:pt idx="350">
                  <c:v>351</c:v>
                </c:pt>
                <c:pt idx="351">
                  <c:v>352</c:v>
                </c:pt>
                <c:pt idx="352">
                  <c:v>353</c:v>
                </c:pt>
                <c:pt idx="353">
                  <c:v>354</c:v>
                </c:pt>
                <c:pt idx="354">
                  <c:v>355</c:v>
                </c:pt>
                <c:pt idx="355">
                  <c:v>356</c:v>
                </c:pt>
                <c:pt idx="356">
                  <c:v>357</c:v>
                </c:pt>
                <c:pt idx="357">
                  <c:v>358</c:v>
                </c:pt>
                <c:pt idx="358">
                  <c:v>359</c:v>
                </c:pt>
                <c:pt idx="359">
                  <c:v>360</c:v>
                </c:pt>
                <c:pt idx="360">
                  <c:v>361</c:v>
                </c:pt>
                <c:pt idx="361">
                  <c:v>362</c:v>
                </c:pt>
                <c:pt idx="362">
                  <c:v>363</c:v>
                </c:pt>
                <c:pt idx="363">
                  <c:v>364</c:v>
                </c:pt>
                <c:pt idx="364">
                  <c:v>365</c:v>
                </c:pt>
                <c:pt idx="365">
                  <c:v>366</c:v>
                </c:pt>
                <c:pt idx="366">
                  <c:v>367</c:v>
                </c:pt>
                <c:pt idx="367">
                  <c:v>368</c:v>
                </c:pt>
                <c:pt idx="368">
                  <c:v>369</c:v>
                </c:pt>
                <c:pt idx="369">
                  <c:v>370</c:v>
                </c:pt>
                <c:pt idx="370">
                  <c:v>371</c:v>
                </c:pt>
                <c:pt idx="371">
                  <c:v>372</c:v>
                </c:pt>
                <c:pt idx="372">
                  <c:v>373</c:v>
                </c:pt>
                <c:pt idx="373">
                  <c:v>374</c:v>
                </c:pt>
                <c:pt idx="374">
                  <c:v>375</c:v>
                </c:pt>
                <c:pt idx="375">
                  <c:v>376</c:v>
                </c:pt>
                <c:pt idx="376">
                  <c:v>377</c:v>
                </c:pt>
                <c:pt idx="377">
                  <c:v>378</c:v>
                </c:pt>
                <c:pt idx="378">
                  <c:v>379</c:v>
                </c:pt>
                <c:pt idx="379">
                  <c:v>380</c:v>
                </c:pt>
                <c:pt idx="380">
                  <c:v>381</c:v>
                </c:pt>
                <c:pt idx="381">
                  <c:v>382</c:v>
                </c:pt>
                <c:pt idx="382">
                  <c:v>383</c:v>
                </c:pt>
                <c:pt idx="383">
                  <c:v>384</c:v>
                </c:pt>
                <c:pt idx="384">
                  <c:v>385</c:v>
                </c:pt>
                <c:pt idx="385">
                  <c:v>386</c:v>
                </c:pt>
                <c:pt idx="386">
                  <c:v>387</c:v>
                </c:pt>
                <c:pt idx="387">
                  <c:v>388</c:v>
                </c:pt>
                <c:pt idx="388">
                  <c:v>389</c:v>
                </c:pt>
                <c:pt idx="389">
                  <c:v>390</c:v>
                </c:pt>
                <c:pt idx="390">
                  <c:v>391</c:v>
                </c:pt>
                <c:pt idx="391">
                  <c:v>392</c:v>
                </c:pt>
                <c:pt idx="392">
                  <c:v>393</c:v>
                </c:pt>
                <c:pt idx="393">
                  <c:v>394</c:v>
                </c:pt>
                <c:pt idx="394">
                  <c:v>395</c:v>
                </c:pt>
                <c:pt idx="395">
                  <c:v>396</c:v>
                </c:pt>
                <c:pt idx="396">
                  <c:v>397</c:v>
                </c:pt>
                <c:pt idx="397">
                  <c:v>398</c:v>
                </c:pt>
                <c:pt idx="398">
                  <c:v>399</c:v>
                </c:pt>
                <c:pt idx="399">
                  <c:v>400</c:v>
                </c:pt>
                <c:pt idx="400">
                  <c:v>401</c:v>
                </c:pt>
                <c:pt idx="401">
                  <c:v>402</c:v>
                </c:pt>
                <c:pt idx="402">
                  <c:v>403</c:v>
                </c:pt>
                <c:pt idx="403">
                  <c:v>404</c:v>
                </c:pt>
                <c:pt idx="404">
                  <c:v>405</c:v>
                </c:pt>
                <c:pt idx="405">
                  <c:v>406</c:v>
                </c:pt>
                <c:pt idx="406">
                  <c:v>407</c:v>
                </c:pt>
                <c:pt idx="407">
                  <c:v>408</c:v>
                </c:pt>
                <c:pt idx="408">
                  <c:v>409</c:v>
                </c:pt>
                <c:pt idx="409">
                  <c:v>410</c:v>
                </c:pt>
                <c:pt idx="410">
                  <c:v>411</c:v>
                </c:pt>
                <c:pt idx="411">
                  <c:v>412</c:v>
                </c:pt>
                <c:pt idx="412">
                  <c:v>413</c:v>
                </c:pt>
                <c:pt idx="413">
                  <c:v>414</c:v>
                </c:pt>
                <c:pt idx="414">
                  <c:v>415</c:v>
                </c:pt>
                <c:pt idx="415">
                  <c:v>416</c:v>
                </c:pt>
                <c:pt idx="416">
                  <c:v>417</c:v>
                </c:pt>
                <c:pt idx="417">
                  <c:v>418</c:v>
                </c:pt>
                <c:pt idx="418">
                  <c:v>419</c:v>
                </c:pt>
                <c:pt idx="419">
                  <c:v>420</c:v>
                </c:pt>
                <c:pt idx="420">
                  <c:v>421</c:v>
                </c:pt>
                <c:pt idx="421">
                  <c:v>422</c:v>
                </c:pt>
                <c:pt idx="422">
                  <c:v>423</c:v>
                </c:pt>
                <c:pt idx="423">
                  <c:v>424</c:v>
                </c:pt>
                <c:pt idx="424">
                  <c:v>425</c:v>
                </c:pt>
                <c:pt idx="425">
                  <c:v>426</c:v>
                </c:pt>
                <c:pt idx="426">
                  <c:v>427</c:v>
                </c:pt>
                <c:pt idx="427">
                  <c:v>428</c:v>
                </c:pt>
                <c:pt idx="428">
                  <c:v>429</c:v>
                </c:pt>
                <c:pt idx="429">
                  <c:v>430</c:v>
                </c:pt>
                <c:pt idx="430">
                  <c:v>431</c:v>
                </c:pt>
                <c:pt idx="431">
                  <c:v>432</c:v>
                </c:pt>
                <c:pt idx="432">
                  <c:v>433</c:v>
                </c:pt>
                <c:pt idx="433">
                  <c:v>434</c:v>
                </c:pt>
                <c:pt idx="434">
                  <c:v>435</c:v>
                </c:pt>
                <c:pt idx="435">
                  <c:v>436</c:v>
                </c:pt>
                <c:pt idx="436">
                  <c:v>437</c:v>
                </c:pt>
                <c:pt idx="437">
                  <c:v>438</c:v>
                </c:pt>
                <c:pt idx="438">
                  <c:v>439</c:v>
                </c:pt>
                <c:pt idx="439">
                  <c:v>440</c:v>
                </c:pt>
                <c:pt idx="440">
                  <c:v>441</c:v>
                </c:pt>
                <c:pt idx="441">
                  <c:v>442</c:v>
                </c:pt>
                <c:pt idx="442">
                  <c:v>443</c:v>
                </c:pt>
                <c:pt idx="443">
                  <c:v>444</c:v>
                </c:pt>
                <c:pt idx="444">
                  <c:v>445</c:v>
                </c:pt>
                <c:pt idx="445">
                  <c:v>446</c:v>
                </c:pt>
                <c:pt idx="446">
                  <c:v>447</c:v>
                </c:pt>
                <c:pt idx="447">
                  <c:v>448</c:v>
                </c:pt>
                <c:pt idx="448">
                  <c:v>449</c:v>
                </c:pt>
                <c:pt idx="449">
                  <c:v>450</c:v>
                </c:pt>
                <c:pt idx="450">
                  <c:v>451</c:v>
                </c:pt>
                <c:pt idx="451">
                  <c:v>452</c:v>
                </c:pt>
                <c:pt idx="452">
                  <c:v>453</c:v>
                </c:pt>
                <c:pt idx="453">
                  <c:v>454</c:v>
                </c:pt>
                <c:pt idx="454">
                  <c:v>455</c:v>
                </c:pt>
                <c:pt idx="455">
                  <c:v>456</c:v>
                </c:pt>
                <c:pt idx="456">
                  <c:v>457</c:v>
                </c:pt>
                <c:pt idx="457">
                  <c:v>458</c:v>
                </c:pt>
                <c:pt idx="458">
                  <c:v>459</c:v>
                </c:pt>
                <c:pt idx="459">
                  <c:v>460</c:v>
                </c:pt>
                <c:pt idx="460">
                  <c:v>461</c:v>
                </c:pt>
                <c:pt idx="461">
                  <c:v>462</c:v>
                </c:pt>
                <c:pt idx="462">
                  <c:v>463</c:v>
                </c:pt>
                <c:pt idx="463">
                  <c:v>464</c:v>
                </c:pt>
                <c:pt idx="464">
                  <c:v>465</c:v>
                </c:pt>
                <c:pt idx="465">
                  <c:v>466</c:v>
                </c:pt>
                <c:pt idx="466">
                  <c:v>467</c:v>
                </c:pt>
                <c:pt idx="467">
                  <c:v>468</c:v>
                </c:pt>
                <c:pt idx="468">
                  <c:v>469</c:v>
                </c:pt>
                <c:pt idx="469">
                  <c:v>470</c:v>
                </c:pt>
                <c:pt idx="470">
                  <c:v>471</c:v>
                </c:pt>
                <c:pt idx="471">
                  <c:v>472</c:v>
                </c:pt>
                <c:pt idx="472">
                  <c:v>473</c:v>
                </c:pt>
                <c:pt idx="473">
                  <c:v>474</c:v>
                </c:pt>
                <c:pt idx="474">
                  <c:v>475</c:v>
                </c:pt>
                <c:pt idx="475">
                  <c:v>476</c:v>
                </c:pt>
                <c:pt idx="476">
                  <c:v>477</c:v>
                </c:pt>
                <c:pt idx="477">
                  <c:v>478</c:v>
                </c:pt>
                <c:pt idx="478">
                  <c:v>479</c:v>
                </c:pt>
                <c:pt idx="479">
                  <c:v>480</c:v>
                </c:pt>
                <c:pt idx="480">
                  <c:v>481</c:v>
                </c:pt>
                <c:pt idx="481">
                  <c:v>482</c:v>
                </c:pt>
                <c:pt idx="482">
                  <c:v>483</c:v>
                </c:pt>
                <c:pt idx="483">
                  <c:v>484</c:v>
                </c:pt>
                <c:pt idx="484">
                  <c:v>485</c:v>
                </c:pt>
                <c:pt idx="485">
                  <c:v>486</c:v>
                </c:pt>
                <c:pt idx="486">
                  <c:v>487</c:v>
                </c:pt>
                <c:pt idx="487">
                  <c:v>488</c:v>
                </c:pt>
                <c:pt idx="488">
                  <c:v>489</c:v>
                </c:pt>
                <c:pt idx="489">
                  <c:v>490</c:v>
                </c:pt>
                <c:pt idx="490">
                  <c:v>491</c:v>
                </c:pt>
                <c:pt idx="491">
                  <c:v>492</c:v>
                </c:pt>
                <c:pt idx="492">
                  <c:v>493</c:v>
                </c:pt>
                <c:pt idx="493">
                  <c:v>494</c:v>
                </c:pt>
                <c:pt idx="494">
                  <c:v>495</c:v>
                </c:pt>
                <c:pt idx="495">
                  <c:v>496</c:v>
                </c:pt>
                <c:pt idx="496">
                  <c:v>497</c:v>
                </c:pt>
                <c:pt idx="497">
                  <c:v>498</c:v>
                </c:pt>
                <c:pt idx="498">
                  <c:v>499</c:v>
                </c:pt>
                <c:pt idx="499">
                  <c:v>500</c:v>
                </c:pt>
                <c:pt idx="500">
                  <c:v>501</c:v>
                </c:pt>
                <c:pt idx="501">
                  <c:v>502</c:v>
                </c:pt>
                <c:pt idx="502">
                  <c:v>503</c:v>
                </c:pt>
                <c:pt idx="503">
                  <c:v>504</c:v>
                </c:pt>
                <c:pt idx="504">
                  <c:v>505</c:v>
                </c:pt>
                <c:pt idx="505">
                  <c:v>506</c:v>
                </c:pt>
                <c:pt idx="506">
                  <c:v>507</c:v>
                </c:pt>
                <c:pt idx="507">
                  <c:v>508</c:v>
                </c:pt>
                <c:pt idx="508">
                  <c:v>509</c:v>
                </c:pt>
              </c:numCache>
            </c:numRef>
          </c:cat>
          <c:val>
            <c:numRef>
              <c:f>Chart!$E$5:$E$513</c:f>
              <c:numCache>
                <c:formatCode>0%</c:formatCode>
                <c:ptCount val="509"/>
                <c:pt idx="0">
                  <c:v>-1.3665499999999999E-2</c:v>
                </c:pt>
                <c:pt idx="1">
                  <c:v>3.5871868027650189E-2</c:v>
                </c:pt>
                <c:pt idx="2">
                  <c:v>6.2063991797916218E-2</c:v>
                </c:pt>
                <c:pt idx="3">
                  <c:v>8.9679673506246393E-2</c:v>
                </c:pt>
                <c:pt idx="4">
                  <c:v>0.10804262846027157</c:v>
                </c:pt>
                <c:pt idx="5">
                  <c:v>0.10804262846027157</c:v>
                </c:pt>
                <c:pt idx="6">
                  <c:v>0.11772237805823771</c:v>
                </c:pt>
                <c:pt idx="7">
                  <c:v>0.10120993005046985</c:v>
                </c:pt>
                <c:pt idx="8">
                  <c:v>8.4270458180475405E-2</c:v>
                </c:pt>
                <c:pt idx="9">
                  <c:v>8.1850583371908314E-2</c:v>
                </c:pt>
                <c:pt idx="10">
                  <c:v>8.5409330865910071E-2</c:v>
                </c:pt>
                <c:pt idx="11">
                  <c:v>7.4448433279093784E-2</c:v>
                </c:pt>
                <c:pt idx="12">
                  <c:v>5.9786509958567269E-2</c:v>
                </c:pt>
                <c:pt idx="13">
                  <c:v>5.6370182165064842E-2</c:v>
                </c:pt>
                <c:pt idx="14">
                  <c:v>5.8790114978368502E-2</c:v>
                </c:pt>
                <c:pt idx="15">
                  <c:v>8.3985825707474149E-2</c:v>
                </c:pt>
                <c:pt idx="16">
                  <c:v>8.1850590427995584E-2</c:v>
                </c:pt>
                <c:pt idx="17">
                  <c:v>8.9110348815062634E-2</c:v>
                </c:pt>
                <c:pt idx="18">
                  <c:v>9.679718074596444E-2</c:v>
                </c:pt>
                <c:pt idx="19">
                  <c:v>9.0960903587778974E-2</c:v>
                </c:pt>
                <c:pt idx="20">
                  <c:v>6.4199305334499579E-2</c:v>
                </c:pt>
                <c:pt idx="21">
                  <c:v>5.2953804855099262E-2</c:v>
                </c:pt>
                <c:pt idx="22">
                  <c:v>5.3665496331800844E-2</c:v>
                </c:pt>
                <c:pt idx="23">
                  <c:v>4.5836340227856986E-2</c:v>
                </c:pt>
                <c:pt idx="24">
                  <c:v>3.7580089823562313E-2</c:v>
                </c:pt>
                <c:pt idx="25">
                  <c:v>3.5160141780066878E-2</c:v>
                </c:pt>
                <c:pt idx="26">
                  <c:v>3.9715260467955815E-2</c:v>
                </c:pt>
                <c:pt idx="27">
                  <c:v>3.8007112266533083E-2</c:v>
                </c:pt>
                <c:pt idx="28">
                  <c:v>2.1779324276202994E-2</c:v>
                </c:pt>
                <c:pt idx="29">
                  <c:v>1.395014455980137E-2</c:v>
                </c:pt>
                <c:pt idx="30">
                  <c:v>3.9145893096982354E-2</c:v>
                </c:pt>
                <c:pt idx="31">
                  <c:v>5.4234811037697117E-2</c:v>
                </c:pt>
                <c:pt idx="32">
                  <c:v>6.1494588216945978E-2</c:v>
                </c:pt>
                <c:pt idx="33">
                  <c:v>6.0213470398426949E-2</c:v>
                </c:pt>
                <c:pt idx="34">
                  <c:v>5.9359362426673945E-2</c:v>
                </c:pt>
                <c:pt idx="35">
                  <c:v>7.0889641599198416E-2</c:v>
                </c:pt>
                <c:pt idx="36">
                  <c:v>8.6690404083066275E-2</c:v>
                </c:pt>
                <c:pt idx="37">
                  <c:v>0.1059074371888713</c:v>
                </c:pt>
                <c:pt idx="38">
                  <c:v>0.10633453864111342</c:v>
                </c:pt>
                <c:pt idx="39">
                  <c:v>9.5800684964895799E-2</c:v>
                </c:pt>
                <c:pt idx="40">
                  <c:v>9.6512407509780518E-2</c:v>
                </c:pt>
                <c:pt idx="41">
                  <c:v>0.11032024000134744</c:v>
                </c:pt>
                <c:pt idx="42">
                  <c:v>0.1077579539834963</c:v>
                </c:pt>
                <c:pt idx="43">
                  <c:v>0.10533805673301933</c:v>
                </c:pt>
                <c:pt idx="44">
                  <c:v>0.10704624616589453</c:v>
                </c:pt>
                <c:pt idx="45">
                  <c:v>0.11088968932333332</c:v>
                </c:pt>
                <c:pt idx="46">
                  <c:v>0.11131671531990905</c:v>
                </c:pt>
                <c:pt idx="47">
                  <c:v>0.11103199597744395</c:v>
                </c:pt>
                <c:pt idx="48">
                  <c:v>9.6370040036128479E-2</c:v>
                </c:pt>
                <c:pt idx="49">
                  <c:v>9.8789947988496163E-2</c:v>
                </c:pt>
                <c:pt idx="50">
                  <c:v>9.8647544811236942E-2</c:v>
                </c:pt>
                <c:pt idx="51">
                  <c:v>9.7224027187424955E-2</c:v>
                </c:pt>
                <c:pt idx="52">
                  <c:v>0.10007099437076805</c:v>
                </c:pt>
                <c:pt idx="53">
                  <c:v>8.4697282210237645E-2</c:v>
                </c:pt>
                <c:pt idx="54">
                  <c:v>7.9288005333583378E-2</c:v>
                </c:pt>
                <c:pt idx="55">
                  <c:v>7.3594005603845103E-2</c:v>
                </c:pt>
                <c:pt idx="56">
                  <c:v>6.4198984460805963E-2</c:v>
                </c:pt>
                <c:pt idx="57">
                  <c:v>7.0177654355506602E-2</c:v>
                </c:pt>
                <c:pt idx="58">
                  <c:v>7.2312872811476803E-2</c:v>
                </c:pt>
                <c:pt idx="59">
                  <c:v>8.4697228642151012E-2</c:v>
                </c:pt>
                <c:pt idx="60">
                  <c:v>9.5515781861182036E-2</c:v>
                </c:pt>
                <c:pt idx="61">
                  <c:v>0.10519554020655097</c:v>
                </c:pt>
                <c:pt idx="62">
                  <c:v>0.12797129937957341</c:v>
                </c:pt>
                <c:pt idx="63">
                  <c:v>0.15288231993211143</c:v>
                </c:pt>
                <c:pt idx="64">
                  <c:v>0.15473281134383443</c:v>
                </c:pt>
                <c:pt idx="65">
                  <c:v>0.15601398739802064</c:v>
                </c:pt>
                <c:pt idx="66">
                  <c:v>0.15416344020699402</c:v>
                </c:pt>
                <c:pt idx="67">
                  <c:v>0.1652666079181293</c:v>
                </c:pt>
                <c:pt idx="68">
                  <c:v>0.16042678958880208</c:v>
                </c:pt>
                <c:pt idx="69">
                  <c:v>0.15231296943331829</c:v>
                </c:pt>
                <c:pt idx="70">
                  <c:v>0.15245528008504317</c:v>
                </c:pt>
                <c:pt idx="71">
                  <c:v>0.16854067465683031</c:v>
                </c:pt>
                <c:pt idx="72">
                  <c:v>0.17907448456852415</c:v>
                </c:pt>
                <c:pt idx="73">
                  <c:v>0.18206379210925072</c:v>
                </c:pt>
                <c:pt idx="74">
                  <c:v>0.17850507085672662</c:v>
                </c:pt>
                <c:pt idx="75">
                  <c:v>0.17152997074435405</c:v>
                </c:pt>
                <c:pt idx="76">
                  <c:v>0.17466158750915084</c:v>
                </c:pt>
                <c:pt idx="77">
                  <c:v>0.16825592294014591</c:v>
                </c:pt>
                <c:pt idx="78">
                  <c:v>0.15814910729960618</c:v>
                </c:pt>
                <c:pt idx="79">
                  <c:v>0.16427015696150615</c:v>
                </c:pt>
                <c:pt idx="80">
                  <c:v>0.17138757328504317</c:v>
                </c:pt>
                <c:pt idx="81">
                  <c:v>0.17608507173143084</c:v>
                </c:pt>
                <c:pt idx="82">
                  <c:v>0.16597826705899954</c:v>
                </c:pt>
                <c:pt idx="83">
                  <c:v>0.16241958479010887</c:v>
                </c:pt>
                <c:pt idx="84">
                  <c:v>0.1790743838751061</c:v>
                </c:pt>
                <c:pt idx="85">
                  <c:v>0.19444809895157666</c:v>
                </c:pt>
                <c:pt idx="86">
                  <c:v>0.19530224878713698</c:v>
                </c:pt>
                <c:pt idx="87">
                  <c:v>0.19373640284122584</c:v>
                </c:pt>
                <c:pt idx="88">
                  <c:v>0.19999969899965331</c:v>
                </c:pt>
                <c:pt idx="89">
                  <c:v>0.19871857932100134</c:v>
                </c:pt>
                <c:pt idx="90">
                  <c:v>0.2002844654011684</c:v>
                </c:pt>
                <c:pt idx="91">
                  <c:v>0.21224169924549496</c:v>
                </c:pt>
                <c:pt idx="92">
                  <c:v>0.23088937085664862</c:v>
                </c:pt>
                <c:pt idx="93">
                  <c:v>0.23629863728581513</c:v>
                </c:pt>
                <c:pt idx="94">
                  <c:v>0.236868076438149</c:v>
                </c:pt>
                <c:pt idx="95">
                  <c:v>0.22348726652681816</c:v>
                </c:pt>
                <c:pt idx="96">
                  <c:v>0.21110288371758035</c:v>
                </c:pt>
                <c:pt idx="97">
                  <c:v>0.1981491694939137</c:v>
                </c:pt>
                <c:pt idx="98">
                  <c:v>0.19658330834430204</c:v>
                </c:pt>
                <c:pt idx="99">
                  <c:v>0.19843382443065649</c:v>
                </c:pt>
                <c:pt idx="100">
                  <c:v>0.20498182716058078</c:v>
                </c:pt>
                <c:pt idx="101">
                  <c:v>0.19971497209224465</c:v>
                </c:pt>
                <c:pt idx="102">
                  <c:v>0.18362955366092337</c:v>
                </c:pt>
                <c:pt idx="103">
                  <c:v>0.19060468262064711</c:v>
                </c:pt>
                <c:pt idx="104">
                  <c:v>0.1908893562002616</c:v>
                </c:pt>
                <c:pt idx="105">
                  <c:v>0.18690356861399482</c:v>
                </c:pt>
                <c:pt idx="106">
                  <c:v>0.19245519136582989</c:v>
                </c:pt>
                <c:pt idx="107">
                  <c:v>0.18590718141900187</c:v>
                </c:pt>
                <c:pt idx="108">
                  <c:v>0.18320260150105772</c:v>
                </c:pt>
                <c:pt idx="109">
                  <c:v>0.18761535560335574</c:v>
                </c:pt>
                <c:pt idx="110">
                  <c:v>0.18661894632000453</c:v>
                </c:pt>
                <c:pt idx="111">
                  <c:v>0.18505308395844078</c:v>
                </c:pt>
                <c:pt idx="112">
                  <c:v>0.18875412324495144</c:v>
                </c:pt>
                <c:pt idx="113">
                  <c:v>0.19886091080077994</c:v>
                </c:pt>
                <c:pt idx="114">
                  <c:v>0.20128081154923128</c:v>
                </c:pt>
                <c:pt idx="115">
                  <c:v>0.1971527301684235</c:v>
                </c:pt>
                <c:pt idx="116">
                  <c:v>0.19886094739910076</c:v>
                </c:pt>
                <c:pt idx="117">
                  <c:v>0.20526658132714881</c:v>
                </c:pt>
                <c:pt idx="118">
                  <c:v>0.20697480565286375</c:v>
                </c:pt>
                <c:pt idx="119">
                  <c:v>0.21039114784026403</c:v>
                </c:pt>
                <c:pt idx="120">
                  <c:v>0.19786444673392078</c:v>
                </c:pt>
                <c:pt idx="121">
                  <c:v>0.1867612016042548</c:v>
                </c:pt>
                <c:pt idx="122">
                  <c:v>0.18491068486259321</c:v>
                </c:pt>
                <c:pt idx="123">
                  <c:v>0.18633411806831868</c:v>
                </c:pt>
                <c:pt idx="124">
                  <c:v>0.17850490605612679</c:v>
                </c:pt>
                <c:pt idx="125">
                  <c:v>0.18021314891745521</c:v>
                </c:pt>
                <c:pt idx="126">
                  <c:v>0.19174335929711916</c:v>
                </c:pt>
                <c:pt idx="127">
                  <c:v>0.19914551565038563</c:v>
                </c:pt>
                <c:pt idx="128">
                  <c:v>0.20683239814935916</c:v>
                </c:pt>
                <c:pt idx="129">
                  <c:v>0.21124518081319232</c:v>
                </c:pt>
                <c:pt idx="130">
                  <c:v>0.22320247211366206</c:v>
                </c:pt>
                <c:pt idx="131">
                  <c:v>0.24128079305026584</c:v>
                </c:pt>
                <c:pt idx="132">
                  <c:v>0.24512417076978732</c:v>
                </c:pt>
                <c:pt idx="133">
                  <c:v>0.25950137054483191</c:v>
                </c:pt>
                <c:pt idx="134">
                  <c:v>0.26547997165053405</c:v>
                </c:pt>
                <c:pt idx="135">
                  <c:v>0.27345148308795508</c:v>
                </c:pt>
                <c:pt idx="136">
                  <c:v>0.28028418702046332</c:v>
                </c:pt>
                <c:pt idx="137">
                  <c:v>0.27359380594435057</c:v>
                </c:pt>
                <c:pt idx="138">
                  <c:v>0.27459026573812162</c:v>
                </c:pt>
                <c:pt idx="139">
                  <c:v>0.27999949936688773</c:v>
                </c:pt>
                <c:pt idx="140">
                  <c:v>0.28483930547394398</c:v>
                </c:pt>
                <c:pt idx="141">
                  <c:v>0.27829125043752656</c:v>
                </c:pt>
                <c:pt idx="142">
                  <c:v>0.27629839437809456</c:v>
                </c:pt>
                <c:pt idx="143">
                  <c:v>0.27715249326361224</c:v>
                </c:pt>
                <c:pt idx="144">
                  <c:v>0.28170771306133546</c:v>
                </c:pt>
                <c:pt idx="145">
                  <c:v>0.2842699749505162</c:v>
                </c:pt>
                <c:pt idx="146">
                  <c:v>0.28028424308325728</c:v>
                </c:pt>
                <c:pt idx="147">
                  <c:v>0.28170779113314137</c:v>
                </c:pt>
                <c:pt idx="148">
                  <c:v>0.28256192120515267</c:v>
                </c:pt>
                <c:pt idx="149">
                  <c:v>0.28982173470394224</c:v>
                </c:pt>
                <c:pt idx="150">
                  <c:v>0.29665443636136279</c:v>
                </c:pt>
                <c:pt idx="151">
                  <c:v>0.31074699543751283</c:v>
                </c:pt>
                <c:pt idx="152">
                  <c:v>0.31345159078789853</c:v>
                </c:pt>
                <c:pt idx="153">
                  <c:v>0.31174344699407874</c:v>
                </c:pt>
                <c:pt idx="154">
                  <c:v>0.29750853828164359</c:v>
                </c:pt>
                <c:pt idx="155">
                  <c:v>0.306761201418984</c:v>
                </c:pt>
                <c:pt idx="156">
                  <c:v>0.31459039980504566</c:v>
                </c:pt>
                <c:pt idx="157">
                  <c:v>0.31501751022594249</c:v>
                </c:pt>
                <c:pt idx="158">
                  <c:v>0.31231291371266079</c:v>
                </c:pt>
                <c:pt idx="159">
                  <c:v>0.30932359612651461</c:v>
                </c:pt>
                <c:pt idx="160">
                  <c:v>0.31985736632207162</c:v>
                </c:pt>
                <c:pt idx="161">
                  <c:v>0.31757982045074629</c:v>
                </c:pt>
                <c:pt idx="162">
                  <c:v>0.32099617316719309</c:v>
                </c:pt>
                <c:pt idx="163">
                  <c:v>0.32427013008277061</c:v>
                </c:pt>
                <c:pt idx="164">
                  <c:v>0.32967937628311961</c:v>
                </c:pt>
                <c:pt idx="165">
                  <c:v>0.33466155193811487</c:v>
                </c:pt>
                <c:pt idx="166">
                  <c:v>0.33494623524714329</c:v>
                </c:pt>
                <c:pt idx="167">
                  <c:v>0.34078248669302025</c:v>
                </c:pt>
                <c:pt idx="168">
                  <c:v>0.35060452287753852</c:v>
                </c:pt>
                <c:pt idx="169">
                  <c:v>0.35629853648553778</c:v>
                </c:pt>
                <c:pt idx="170">
                  <c:v>0.36071138940384717</c:v>
                </c:pt>
                <c:pt idx="171">
                  <c:v>0.3507470359703817</c:v>
                </c:pt>
                <c:pt idx="172">
                  <c:v>0.35530216019978478</c:v>
                </c:pt>
                <c:pt idx="173">
                  <c:v>0.36483955703132676</c:v>
                </c:pt>
                <c:pt idx="174">
                  <c:v>0.37252633341652719</c:v>
                </c:pt>
                <c:pt idx="175">
                  <c:v>0.37266866439730228</c:v>
                </c:pt>
                <c:pt idx="176">
                  <c:v>0.3755155792072622</c:v>
                </c:pt>
                <c:pt idx="177">
                  <c:v>0.37537321334481422</c:v>
                </c:pt>
                <c:pt idx="178">
                  <c:v>0.37978596076250981</c:v>
                </c:pt>
                <c:pt idx="179">
                  <c:v>0.38718809850621239</c:v>
                </c:pt>
                <c:pt idx="180">
                  <c:v>0.38804219021846276</c:v>
                </c:pt>
                <c:pt idx="181">
                  <c:v>0.38633406549918003</c:v>
                </c:pt>
                <c:pt idx="182">
                  <c:v>0.39373625760850639</c:v>
                </c:pt>
                <c:pt idx="183">
                  <c:v>0.40113839087266534</c:v>
                </c:pt>
                <c:pt idx="184">
                  <c:v>0.40441243095061763</c:v>
                </c:pt>
                <c:pt idx="185">
                  <c:v>0.39786435799131037</c:v>
                </c:pt>
                <c:pt idx="186">
                  <c:v>0.38875405661097373</c:v>
                </c:pt>
                <c:pt idx="187">
                  <c:v>0.37708143988975285</c:v>
                </c:pt>
                <c:pt idx="188">
                  <c:v>0.36256190631198715</c:v>
                </c:pt>
                <c:pt idx="189">
                  <c:v>0.36782875310464558</c:v>
                </c:pt>
                <c:pt idx="190">
                  <c:v>0.37693903973182352</c:v>
                </c:pt>
                <c:pt idx="191">
                  <c:v>0.37964362339366464</c:v>
                </c:pt>
                <c:pt idx="192">
                  <c:v>0.37722372847823205</c:v>
                </c:pt>
                <c:pt idx="193">
                  <c:v>0.3807824745926196</c:v>
                </c:pt>
                <c:pt idx="194">
                  <c:v>0.38049775724635859</c:v>
                </c:pt>
                <c:pt idx="195">
                  <c:v>0.38007076929004224</c:v>
                </c:pt>
                <c:pt idx="196">
                  <c:v>0.39387865335094285</c:v>
                </c:pt>
                <c:pt idx="197">
                  <c:v>0.40868289914031775</c:v>
                </c:pt>
                <c:pt idx="198">
                  <c:v>0.41466149023255916</c:v>
                </c:pt>
                <c:pt idx="199">
                  <c:v>0.41580029273219621</c:v>
                </c:pt>
                <c:pt idx="200">
                  <c:v>0.41352269480127779</c:v>
                </c:pt>
                <c:pt idx="201">
                  <c:v>0.41480377041957617</c:v>
                </c:pt>
                <c:pt idx="202">
                  <c:v>0.41736598004780601</c:v>
                </c:pt>
                <c:pt idx="203">
                  <c:v>0.43359368662656927</c:v>
                </c:pt>
                <c:pt idx="204">
                  <c:v>0.44071119256193292</c:v>
                </c:pt>
                <c:pt idx="205">
                  <c:v>0.43943011216950678</c:v>
                </c:pt>
                <c:pt idx="206">
                  <c:v>0.44042648569315057</c:v>
                </c:pt>
                <c:pt idx="207">
                  <c:v>0.43786425506039972</c:v>
                </c:pt>
                <c:pt idx="208">
                  <c:v>0.43231266117161149</c:v>
                </c:pt>
                <c:pt idx="209">
                  <c:v>0.42747287668951262</c:v>
                </c:pt>
                <c:pt idx="210">
                  <c:v>0.41807782120429304</c:v>
                </c:pt>
                <c:pt idx="211">
                  <c:v>0.41793544619104406</c:v>
                </c:pt>
                <c:pt idx="212">
                  <c:v>0.42277528524952812</c:v>
                </c:pt>
                <c:pt idx="213">
                  <c:v>0.4239140745878418</c:v>
                </c:pt>
                <c:pt idx="214">
                  <c:v>0.42718808021954158</c:v>
                </c:pt>
                <c:pt idx="215">
                  <c:v>0.42789981891514728</c:v>
                </c:pt>
                <c:pt idx="216">
                  <c:v>0.42903856902073212</c:v>
                </c:pt>
                <c:pt idx="217">
                  <c:v>0.43145850293351184</c:v>
                </c:pt>
                <c:pt idx="218">
                  <c:v>0.43473253482142149</c:v>
                </c:pt>
                <c:pt idx="219">
                  <c:v>0.44498169015717193</c:v>
                </c:pt>
                <c:pt idx="220">
                  <c:v>0.45167209988076862</c:v>
                </c:pt>
                <c:pt idx="221">
                  <c:v>0.45338028244069828</c:v>
                </c:pt>
                <c:pt idx="222">
                  <c:v>0.46448352644643243</c:v>
                </c:pt>
                <c:pt idx="223">
                  <c:v>0.46590700443413824</c:v>
                </c:pt>
                <c:pt idx="224">
                  <c:v>0.47145854085063088</c:v>
                </c:pt>
                <c:pt idx="225">
                  <c:v>0.47359377433925909</c:v>
                </c:pt>
                <c:pt idx="226">
                  <c:v>0.47316672686345562</c:v>
                </c:pt>
                <c:pt idx="227">
                  <c:v>0.48056880039925387</c:v>
                </c:pt>
                <c:pt idx="228">
                  <c:v>0.47487482890667843</c:v>
                </c:pt>
                <c:pt idx="229">
                  <c:v>0.47131610343200947</c:v>
                </c:pt>
                <c:pt idx="230">
                  <c:v>0.47416310009215046</c:v>
                </c:pt>
                <c:pt idx="231">
                  <c:v>0.48113825021654644</c:v>
                </c:pt>
                <c:pt idx="232">
                  <c:v>0.47957239085841752</c:v>
                </c:pt>
                <c:pt idx="233">
                  <c:v>0.48597805156739993</c:v>
                </c:pt>
                <c:pt idx="234">
                  <c:v>0.49138730887071547</c:v>
                </c:pt>
                <c:pt idx="235">
                  <c:v>0.48939436800987157</c:v>
                </c:pt>
                <c:pt idx="236">
                  <c:v>0.47971464507273875</c:v>
                </c:pt>
                <c:pt idx="237">
                  <c:v>0.47031964084824285</c:v>
                </c:pt>
                <c:pt idx="238">
                  <c:v>0.47743701713369679</c:v>
                </c:pt>
                <c:pt idx="239">
                  <c:v>0.47729473994894667</c:v>
                </c:pt>
                <c:pt idx="240">
                  <c:v>0.4694655210156391</c:v>
                </c:pt>
                <c:pt idx="241">
                  <c:v>0.46434090695764918</c:v>
                </c:pt>
                <c:pt idx="242">
                  <c:v>0.45708114404322542</c:v>
                </c:pt>
                <c:pt idx="243">
                  <c:v>0.46078227585720977</c:v>
                </c:pt>
                <c:pt idx="244">
                  <c:v>0.46476802029688602</c:v>
                </c:pt>
                <c:pt idx="245">
                  <c:v>0.46177872172106427</c:v>
                </c:pt>
                <c:pt idx="246">
                  <c:v>0.45494592944212342</c:v>
                </c:pt>
                <c:pt idx="247">
                  <c:v>0.43330899204161066</c:v>
                </c:pt>
                <c:pt idx="248">
                  <c:v>0.43530186486414535</c:v>
                </c:pt>
                <c:pt idx="249">
                  <c:v>0.43871817036289484</c:v>
                </c:pt>
                <c:pt idx="250">
                  <c:v>0.44213455053023853</c:v>
                </c:pt>
                <c:pt idx="251">
                  <c:v>0.43757942433893371</c:v>
                </c:pt>
                <c:pt idx="252">
                  <c:v>0.42533742923509066</c:v>
                </c:pt>
                <c:pt idx="253">
                  <c:v>0.41594246010403046</c:v>
                </c:pt>
                <c:pt idx="254">
                  <c:v>0.41765065308790006</c:v>
                </c:pt>
                <c:pt idx="255">
                  <c:v>0.41494605917193894</c:v>
                </c:pt>
                <c:pt idx="256">
                  <c:v>0.41822010285825706</c:v>
                </c:pt>
                <c:pt idx="257">
                  <c:v>0.42633402371072959</c:v>
                </c:pt>
                <c:pt idx="258">
                  <c:v>0.43715248201377088</c:v>
                </c:pt>
                <c:pt idx="259">
                  <c:v>0.43786415992286409</c:v>
                </c:pt>
                <c:pt idx="260">
                  <c:v>0.44199226792600266</c:v>
                </c:pt>
                <c:pt idx="261">
                  <c:v>0.43971464113881353</c:v>
                </c:pt>
                <c:pt idx="262">
                  <c:v>0.42804201071431658</c:v>
                </c:pt>
                <c:pt idx="263">
                  <c:v>0.42761502615311286</c:v>
                </c:pt>
                <c:pt idx="264">
                  <c:v>0.43259725983288444</c:v>
                </c:pt>
                <c:pt idx="265">
                  <c:v>0.43871831814497253</c:v>
                </c:pt>
                <c:pt idx="266">
                  <c:v>0.42661869708937328</c:v>
                </c:pt>
                <c:pt idx="267">
                  <c:v>0.42804217722532889</c:v>
                </c:pt>
                <c:pt idx="268">
                  <c:v>0.43088912210984542</c:v>
                </c:pt>
                <c:pt idx="269">
                  <c:v>0.43060437517454564</c:v>
                </c:pt>
                <c:pt idx="270">
                  <c:v>0.4088249972273259</c:v>
                </c:pt>
                <c:pt idx="271">
                  <c:v>0.39316661179564272</c:v>
                </c:pt>
                <c:pt idx="272">
                  <c:v>0.38918090143595641</c:v>
                </c:pt>
                <c:pt idx="273">
                  <c:v>0.40085349396027214</c:v>
                </c:pt>
                <c:pt idx="274">
                  <c:v>0.39743709245920189</c:v>
                </c:pt>
                <c:pt idx="275">
                  <c:v>0.3948747518064688</c:v>
                </c:pt>
                <c:pt idx="276">
                  <c:v>0.3913160078521849</c:v>
                </c:pt>
                <c:pt idx="277">
                  <c:v>0.40668963234414934</c:v>
                </c:pt>
                <c:pt idx="278">
                  <c:v>0.41921634418913722</c:v>
                </c:pt>
                <c:pt idx="279">
                  <c:v>0.42035512338371461</c:v>
                </c:pt>
                <c:pt idx="280">
                  <c:v>0.42035512338371461</c:v>
                </c:pt>
                <c:pt idx="281">
                  <c:v>0.42007048421698845</c:v>
                </c:pt>
                <c:pt idx="282">
                  <c:v>0.42405619604504041</c:v>
                </c:pt>
                <c:pt idx="283">
                  <c:v>0.42832665576574036</c:v>
                </c:pt>
                <c:pt idx="284">
                  <c:v>0.4333088019737168</c:v>
                </c:pt>
                <c:pt idx="285">
                  <c:v>0.43515934696794512</c:v>
                </c:pt>
                <c:pt idx="286">
                  <c:v>0.41636937970183263</c:v>
                </c:pt>
                <c:pt idx="287">
                  <c:v>0.41238357463041364</c:v>
                </c:pt>
                <c:pt idx="288">
                  <c:v>0.4132376429779927</c:v>
                </c:pt>
                <c:pt idx="289">
                  <c:v>0.41081775616192151</c:v>
                </c:pt>
                <c:pt idx="290">
                  <c:v>0.40825542895318012</c:v>
                </c:pt>
                <c:pt idx="291">
                  <c:v>0.41380705350519942</c:v>
                </c:pt>
                <c:pt idx="292">
                  <c:v>0.4132377134047529</c:v>
                </c:pt>
                <c:pt idx="293">
                  <c:v>0.41081782646808995</c:v>
                </c:pt>
                <c:pt idx="294">
                  <c:v>0.40839785065034917</c:v>
                </c:pt>
                <c:pt idx="295">
                  <c:v>0.40455447375570941</c:v>
                </c:pt>
                <c:pt idx="296">
                  <c:v>0.39188539240243281</c:v>
                </c:pt>
                <c:pt idx="297">
                  <c:v>0.38177863419112024</c:v>
                </c:pt>
                <c:pt idx="298">
                  <c:v>0.36683207288293818</c:v>
                </c:pt>
                <c:pt idx="299">
                  <c:v>0.36056870159215948</c:v>
                </c:pt>
                <c:pt idx="300">
                  <c:v>0.36597791457907936</c:v>
                </c:pt>
                <c:pt idx="301">
                  <c:v>0.34533730530083218</c:v>
                </c:pt>
                <c:pt idx="302">
                  <c:v>0.3365116235105976</c:v>
                </c:pt>
                <c:pt idx="303">
                  <c:v>0.33935866057099995</c:v>
                </c:pt>
                <c:pt idx="304">
                  <c:v>0.34163623997330106</c:v>
                </c:pt>
                <c:pt idx="305">
                  <c:v>0.33138707824527303</c:v>
                </c:pt>
                <c:pt idx="306">
                  <c:v>0.33152940352393756</c:v>
                </c:pt>
                <c:pt idx="307">
                  <c:v>0.34747247083703159</c:v>
                </c:pt>
                <c:pt idx="308">
                  <c:v>0.36654715638695357</c:v>
                </c:pt>
                <c:pt idx="309">
                  <c:v>0.36213430230954868</c:v>
                </c:pt>
                <c:pt idx="310">
                  <c:v>0.40583538470368552</c:v>
                </c:pt>
                <c:pt idx="311">
                  <c:v>0.42334422091893908</c:v>
                </c:pt>
                <c:pt idx="312">
                  <c:v>0.40355774356625651</c:v>
                </c:pt>
                <c:pt idx="313">
                  <c:v>0.39729436713559196</c:v>
                </c:pt>
                <c:pt idx="314">
                  <c:v>0.39971434125003413</c:v>
                </c:pt>
                <c:pt idx="315">
                  <c:v>0.41409150710618392</c:v>
                </c:pt>
                <c:pt idx="316">
                  <c:v>0.42918042912360965</c:v>
                </c:pt>
                <c:pt idx="317">
                  <c:v>0.42932277549435027</c:v>
                </c:pt>
                <c:pt idx="318">
                  <c:v>0.42690278910316071</c:v>
                </c:pt>
                <c:pt idx="319">
                  <c:v>0.43031922245111032</c:v>
                </c:pt>
                <c:pt idx="320">
                  <c:v>0.41665380956789022</c:v>
                </c:pt>
                <c:pt idx="321">
                  <c:v>0.40967877287110177</c:v>
                </c:pt>
                <c:pt idx="322">
                  <c:v>0.41024814212746441</c:v>
                </c:pt>
                <c:pt idx="323">
                  <c:v>0.41337988017668703</c:v>
                </c:pt>
                <c:pt idx="324">
                  <c:v>0.43330867782516647</c:v>
                </c:pt>
                <c:pt idx="325">
                  <c:v>0.4398567485198106</c:v>
                </c:pt>
                <c:pt idx="326">
                  <c:v>0.44256137543623031</c:v>
                </c:pt>
                <c:pt idx="327">
                  <c:v>0.43487454289108074</c:v>
                </c:pt>
                <c:pt idx="328">
                  <c:v>0.42946535283928977</c:v>
                </c:pt>
                <c:pt idx="329">
                  <c:v>0.42448309429850384</c:v>
                </c:pt>
                <c:pt idx="330">
                  <c:v>0.41409163257390569</c:v>
                </c:pt>
                <c:pt idx="331">
                  <c:v>0.42021266961466508</c:v>
                </c:pt>
                <c:pt idx="332">
                  <c:v>0.4186468851464149</c:v>
                </c:pt>
                <c:pt idx="333">
                  <c:v>0.42291729600008265</c:v>
                </c:pt>
                <c:pt idx="334">
                  <c:v>0.41893156236225693</c:v>
                </c:pt>
                <c:pt idx="335">
                  <c:v>0.41409172869619559</c:v>
                </c:pt>
                <c:pt idx="336">
                  <c:v>0.40170739615462003</c:v>
                </c:pt>
                <c:pt idx="337">
                  <c:v>0.40042623559453472</c:v>
                </c:pt>
                <c:pt idx="338">
                  <c:v>0.39715217909833833</c:v>
                </c:pt>
                <c:pt idx="339">
                  <c:v>0.38960769704642528</c:v>
                </c:pt>
                <c:pt idx="340">
                  <c:v>0.39330877818673882</c:v>
                </c:pt>
                <c:pt idx="341">
                  <c:v>0.39359343117012235</c:v>
                </c:pt>
                <c:pt idx="342">
                  <c:v>0.3998567974871734</c:v>
                </c:pt>
                <c:pt idx="343">
                  <c:v>0.40825537832937742</c:v>
                </c:pt>
                <c:pt idx="344">
                  <c:v>0.41224116352666318</c:v>
                </c:pt>
                <c:pt idx="345">
                  <c:v>0.41081762443382819</c:v>
                </c:pt>
                <c:pt idx="346">
                  <c:v>0.42092443973174731</c:v>
                </c:pt>
                <c:pt idx="347">
                  <c:v>0.42377140393919399</c:v>
                </c:pt>
                <c:pt idx="348">
                  <c:v>0.41437636357602048</c:v>
                </c:pt>
                <c:pt idx="349">
                  <c:v>0.41152936539377838</c:v>
                </c:pt>
                <c:pt idx="350">
                  <c:v>0.41736561586087206</c:v>
                </c:pt>
                <c:pt idx="351">
                  <c:v>0.40967881691637387</c:v>
                </c:pt>
                <c:pt idx="352">
                  <c:v>0.3968673738924744</c:v>
                </c:pt>
                <c:pt idx="353">
                  <c:v>0.39202750781541162</c:v>
                </c:pt>
                <c:pt idx="354">
                  <c:v>0.38576421924674698</c:v>
                </c:pt>
                <c:pt idx="355">
                  <c:v>0.38078198114928918</c:v>
                </c:pt>
                <c:pt idx="356">
                  <c:v>0.36156494792664384</c:v>
                </c:pt>
                <c:pt idx="357">
                  <c:v>0.36085325792836254</c:v>
                </c:pt>
                <c:pt idx="358">
                  <c:v>0.35957215067134873</c:v>
                </c:pt>
                <c:pt idx="359">
                  <c:v>0.3537359153001618</c:v>
                </c:pt>
                <c:pt idx="360">
                  <c:v>0.34861134799279303</c:v>
                </c:pt>
                <c:pt idx="361">
                  <c:v>0.33508828256193013</c:v>
                </c:pt>
                <c:pt idx="362">
                  <c:v>0.33750826358290187</c:v>
                </c:pt>
                <c:pt idx="363">
                  <c:v>0.34135172732913377</c:v>
                </c:pt>
                <c:pt idx="364">
                  <c:v>0.32099591005587791</c:v>
                </c:pt>
                <c:pt idx="365">
                  <c:v>0.32640512410837474</c:v>
                </c:pt>
                <c:pt idx="366">
                  <c:v>0.35103142692359568</c:v>
                </c:pt>
                <c:pt idx="367">
                  <c:v>0.34932318278739349</c:v>
                </c:pt>
                <c:pt idx="368">
                  <c:v>0.34462564905883752</c:v>
                </c:pt>
                <c:pt idx="369">
                  <c:v>0.34362914699031988</c:v>
                </c:pt>
                <c:pt idx="370">
                  <c:v>0.34462558236572782</c:v>
                </c:pt>
                <c:pt idx="371">
                  <c:v>0.3296789933172668</c:v>
                </c:pt>
                <c:pt idx="372">
                  <c:v>0.31131599345165606</c:v>
                </c:pt>
                <c:pt idx="373">
                  <c:v>0.31131599345165606</c:v>
                </c:pt>
                <c:pt idx="374">
                  <c:v>0.30690315287049263</c:v>
                </c:pt>
                <c:pt idx="375">
                  <c:v>0.31971459378776679</c:v>
                </c:pt>
                <c:pt idx="376">
                  <c:v>0.32170749479584559</c:v>
                </c:pt>
                <c:pt idx="377">
                  <c:v>0.31145844619820062</c:v>
                </c:pt>
                <c:pt idx="378">
                  <c:v>0.30405631243616882</c:v>
                </c:pt>
                <c:pt idx="379">
                  <c:v>0.29238370438355266</c:v>
                </c:pt>
                <c:pt idx="380">
                  <c:v>0.28341572462046472</c:v>
                </c:pt>
                <c:pt idx="381">
                  <c:v>0.28583560496923655</c:v>
                </c:pt>
                <c:pt idx="382">
                  <c:v>0.30875369587440571</c:v>
                </c:pt>
                <c:pt idx="383">
                  <c:v>0.32967896609163283</c:v>
                </c:pt>
                <c:pt idx="384">
                  <c:v>0.33793520872788907</c:v>
                </c:pt>
                <c:pt idx="385">
                  <c:v>0.35999923204854167</c:v>
                </c:pt>
                <c:pt idx="386">
                  <c:v>0.36426962963717391</c:v>
                </c:pt>
                <c:pt idx="387">
                  <c:v>0.38163609988764047</c:v>
                </c:pt>
                <c:pt idx="388">
                  <c:v>0.37380692076401711</c:v>
                </c:pt>
                <c:pt idx="389">
                  <c:v>0.37893149533985082</c:v>
                </c:pt>
                <c:pt idx="390">
                  <c:v>0.37964329977774547</c:v>
                </c:pt>
                <c:pt idx="391">
                  <c:v>0.38021267856756391</c:v>
                </c:pt>
                <c:pt idx="392">
                  <c:v>0.39060416180323143</c:v>
                </c:pt>
                <c:pt idx="393">
                  <c:v>0.39373580237561212</c:v>
                </c:pt>
                <c:pt idx="394">
                  <c:v>0.39031947717682902</c:v>
                </c:pt>
                <c:pt idx="395">
                  <c:v>0.4027037479197817</c:v>
                </c:pt>
                <c:pt idx="396">
                  <c:v>0.41978559362119916</c:v>
                </c:pt>
                <c:pt idx="397">
                  <c:v>0.42718778779210265</c:v>
                </c:pt>
                <c:pt idx="398">
                  <c:v>0.44555069946372949</c:v>
                </c:pt>
                <c:pt idx="399">
                  <c:v>0.44910935617566938</c:v>
                </c:pt>
                <c:pt idx="400">
                  <c:v>0.44028370055281707</c:v>
                </c:pt>
                <c:pt idx="401">
                  <c:v>0.43402033882422297</c:v>
                </c:pt>
                <c:pt idx="402">
                  <c:v>0.43700969762253616</c:v>
                </c:pt>
                <c:pt idx="403">
                  <c:v>0.45124457198621504</c:v>
                </c:pt>
                <c:pt idx="404">
                  <c:v>0.45494568101815158</c:v>
                </c:pt>
                <c:pt idx="405">
                  <c:v>0.44882472453810829</c:v>
                </c:pt>
                <c:pt idx="406">
                  <c:v>0.45323755488410633</c:v>
                </c:pt>
                <c:pt idx="407">
                  <c:v>0.4472589355833132</c:v>
                </c:pt>
                <c:pt idx="408">
                  <c:v>0.45323756224620793</c:v>
                </c:pt>
                <c:pt idx="409">
                  <c:v>0.46718777090123398</c:v>
                </c:pt>
                <c:pt idx="410">
                  <c:v>0.47345104877643429</c:v>
                </c:pt>
                <c:pt idx="411">
                  <c:v>0.47288170729118706</c:v>
                </c:pt>
                <c:pt idx="412">
                  <c:v>0.47074647068012698</c:v>
                </c:pt>
                <c:pt idx="413">
                  <c:v>0.47544403490747911</c:v>
                </c:pt>
                <c:pt idx="414">
                  <c:v>0.47458990035567106</c:v>
                </c:pt>
                <c:pt idx="415">
                  <c:v>0.46604892819382093</c:v>
                </c:pt>
                <c:pt idx="416">
                  <c:v>0.47174291562603288</c:v>
                </c:pt>
                <c:pt idx="417">
                  <c:v>0.47615578958424609</c:v>
                </c:pt>
                <c:pt idx="418">
                  <c:v>0.48113796298967193</c:v>
                </c:pt>
                <c:pt idx="419">
                  <c:v>0.47871807978573933</c:v>
                </c:pt>
                <c:pt idx="420">
                  <c:v>0.47871807978573933</c:v>
                </c:pt>
                <c:pt idx="421">
                  <c:v>0.47544405008528567</c:v>
                </c:pt>
                <c:pt idx="422">
                  <c:v>0.46007036571661208</c:v>
                </c:pt>
                <c:pt idx="423">
                  <c:v>0.46305971378338007</c:v>
                </c:pt>
                <c:pt idx="424">
                  <c:v>0.45907390020512007</c:v>
                </c:pt>
                <c:pt idx="425">
                  <c:v>0.47330877108291114</c:v>
                </c:pt>
                <c:pt idx="426">
                  <c:v>0.48270376645435253</c:v>
                </c:pt>
                <c:pt idx="427">
                  <c:v>0.4795721478292243</c:v>
                </c:pt>
                <c:pt idx="428">
                  <c:v>0.48056863967078733</c:v>
                </c:pt>
                <c:pt idx="429">
                  <c:v>0.4901060186769548</c:v>
                </c:pt>
                <c:pt idx="430">
                  <c:v>0.48953664916721817</c:v>
                </c:pt>
                <c:pt idx="431">
                  <c:v>0.49266825101842748</c:v>
                </c:pt>
                <c:pt idx="432">
                  <c:v>0.4881130753167946</c:v>
                </c:pt>
                <c:pt idx="433">
                  <c:v>0.49095998444118294</c:v>
                </c:pt>
                <c:pt idx="434">
                  <c:v>0.50249017438486043</c:v>
                </c:pt>
                <c:pt idx="435">
                  <c:v>0.50305961816095213</c:v>
                </c:pt>
                <c:pt idx="436">
                  <c:v>0.49579984020523482</c:v>
                </c:pt>
                <c:pt idx="437">
                  <c:v>0.48882477597037366</c:v>
                </c:pt>
                <c:pt idx="438">
                  <c:v>0.49508811292040344</c:v>
                </c:pt>
                <c:pt idx="439">
                  <c:v>0.50348662088592255</c:v>
                </c:pt>
                <c:pt idx="440">
                  <c:v>0.50305963068559101</c:v>
                </c:pt>
                <c:pt idx="441">
                  <c:v>0.49864679791586108</c:v>
                </c:pt>
                <c:pt idx="442">
                  <c:v>0.49878916936166307</c:v>
                </c:pt>
                <c:pt idx="443">
                  <c:v>0.50007033434363324</c:v>
                </c:pt>
                <c:pt idx="444">
                  <c:v>0.50106683106673766</c:v>
                </c:pt>
                <c:pt idx="445">
                  <c:v>0.5114582664181635</c:v>
                </c:pt>
                <c:pt idx="446">
                  <c:v>0.51160064578686004</c:v>
                </c:pt>
                <c:pt idx="447">
                  <c:v>0.51700990869780816</c:v>
                </c:pt>
                <c:pt idx="448">
                  <c:v>0.52811305592055824</c:v>
                </c:pt>
                <c:pt idx="449">
                  <c:v>0.52768594832142846</c:v>
                </c:pt>
                <c:pt idx="450">
                  <c:v>0.53651154281347613</c:v>
                </c:pt>
                <c:pt idx="451">
                  <c:v>0.54832654832194017</c:v>
                </c:pt>
                <c:pt idx="452">
                  <c:v>0.5497500797504673</c:v>
                </c:pt>
                <c:pt idx="453">
                  <c:v>0.55103125814139697</c:v>
                </c:pt>
                <c:pt idx="454">
                  <c:v>0.55074648880240229</c:v>
                </c:pt>
                <c:pt idx="455">
                  <c:v>0.54263267302369034</c:v>
                </c:pt>
                <c:pt idx="456">
                  <c:v>0.52782833578721666</c:v>
                </c:pt>
                <c:pt idx="457">
                  <c:v>0.53181413434961833</c:v>
                </c:pt>
                <c:pt idx="458">
                  <c:v>0.53380702453840723</c:v>
                </c:pt>
                <c:pt idx="459">
                  <c:v>0.53024828548007319</c:v>
                </c:pt>
                <c:pt idx="460">
                  <c:v>0.536226965531444</c:v>
                </c:pt>
                <c:pt idx="461">
                  <c:v>0.531529490716242</c:v>
                </c:pt>
                <c:pt idx="462">
                  <c:v>0.51871809337345165</c:v>
                </c:pt>
                <c:pt idx="463">
                  <c:v>0.5208532591409254</c:v>
                </c:pt>
                <c:pt idx="464">
                  <c:v>0.53380697469033223</c:v>
                </c:pt>
                <c:pt idx="465">
                  <c:v>0.53053291032215832</c:v>
                </c:pt>
                <c:pt idx="466">
                  <c:v>0.52740128693434807</c:v>
                </c:pt>
                <c:pt idx="467">
                  <c:v>0.52555068753509837</c:v>
                </c:pt>
                <c:pt idx="468">
                  <c:v>0.51587091586761935</c:v>
                </c:pt>
                <c:pt idx="469">
                  <c:v>0.52597768202498352</c:v>
                </c:pt>
                <c:pt idx="470">
                  <c:v>0.52996338313266467</c:v>
                </c:pt>
                <c:pt idx="471">
                  <c:v>0.53907370309386637</c:v>
                </c:pt>
                <c:pt idx="472">
                  <c:v>0.5516003778707177</c:v>
                </c:pt>
                <c:pt idx="473">
                  <c:v>0.55757900444672925</c:v>
                </c:pt>
                <c:pt idx="474">
                  <c:v>0.56042594735105711</c:v>
                </c:pt>
                <c:pt idx="475">
                  <c:v>0.55800603879190525</c:v>
                </c:pt>
                <c:pt idx="476">
                  <c:v>0.56241877929557549</c:v>
                </c:pt>
                <c:pt idx="477">
                  <c:v>0.56839737475454988</c:v>
                </c:pt>
                <c:pt idx="478">
                  <c:v>0.5645540169877139</c:v>
                </c:pt>
                <c:pt idx="479">
                  <c:v>0.5635575525342944</c:v>
                </c:pt>
                <c:pt idx="480">
                  <c:v>0.55886000022346027</c:v>
                </c:pt>
                <c:pt idx="481">
                  <c:v>0.56256104563599085</c:v>
                </c:pt>
                <c:pt idx="482">
                  <c:v>0.55444713489431674</c:v>
                </c:pt>
                <c:pt idx="483">
                  <c:v>0.55216955895226949</c:v>
                </c:pt>
                <c:pt idx="484">
                  <c:v>0.55003439450697478</c:v>
                </c:pt>
                <c:pt idx="485">
                  <c:v>0.54006999840188685</c:v>
                </c:pt>
                <c:pt idx="486">
                  <c:v>0.52483870611769223</c:v>
                </c:pt>
                <c:pt idx="487">
                  <c:v>0.52156472493178696</c:v>
                </c:pt>
                <c:pt idx="488">
                  <c:v>0.52384235516853739</c:v>
                </c:pt>
                <c:pt idx="489">
                  <c:v>0.53266799293696709</c:v>
                </c:pt>
                <c:pt idx="490">
                  <c:v>0.51871780213205421</c:v>
                </c:pt>
                <c:pt idx="491">
                  <c:v>0.51003453309836422</c:v>
                </c:pt>
                <c:pt idx="492">
                  <c:v>0.50875341980048372</c:v>
                </c:pt>
                <c:pt idx="493">
                  <c:v>0.51245454281459635</c:v>
                </c:pt>
                <c:pt idx="494">
                  <c:v>0.51786383648697298</c:v>
                </c:pt>
                <c:pt idx="495">
                  <c:v>0.51088879679916444</c:v>
                </c:pt>
                <c:pt idx="496">
                  <c:v>0.49096002248050374</c:v>
                </c:pt>
                <c:pt idx="497">
                  <c:v>0.50063978223445371</c:v>
                </c:pt>
                <c:pt idx="498">
                  <c:v>0.50562205637545032</c:v>
                </c:pt>
                <c:pt idx="499">
                  <c:v>0.51430527989897867</c:v>
                </c:pt>
                <c:pt idx="500">
                  <c:v>0.52113797675241069</c:v>
                </c:pt>
                <c:pt idx="501">
                  <c:v>0.51829101491512097</c:v>
                </c:pt>
                <c:pt idx="502">
                  <c:v>0.52156505765968397</c:v>
                </c:pt>
                <c:pt idx="503">
                  <c:v>0.53651169553408673</c:v>
                </c:pt>
                <c:pt idx="504">
                  <c:v>0.55131598572055784</c:v>
                </c:pt>
                <c:pt idx="505">
                  <c:v>0.56142280936752731</c:v>
                </c:pt>
                <c:pt idx="506">
                  <c:v>0.56270395678261309</c:v>
                </c:pt>
                <c:pt idx="507">
                  <c:v>0.570248378945168</c:v>
                </c:pt>
                <c:pt idx="508">
                  <c:v>0.57238360269085753</c:v>
                </c:pt>
              </c:numCache>
            </c:numRef>
          </c:val>
          <c:smooth val="0"/>
          <c:extLst>
            <c:ext xmlns:c16="http://schemas.microsoft.com/office/drawing/2014/chart" uri="{C3380CC4-5D6E-409C-BE32-E72D297353CC}">
              <c16:uniqueId val="{00000000-FEDF-4824-BFB3-214DAB16BA7B}"/>
            </c:ext>
          </c:extLst>
        </c:ser>
        <c:ser>
          <c:idx val="4"/>
          <c:order val="4"/>
          <c:tx>
            <c:strRef>
              <c:f>Chart!$F$4</c:f>
              <c:strCache>
                <c:ptCount val="1"/>
                <c:pt idx="0">
                  <c:v>Oct '74</c:v>
                </c:pt>
              </c:strCache>
            </c:strRef>
          </c:tx>
          <c:spPr>
            <a:ln w="15875" cap="rnd">
              <a:solidFill>
                <a:schemeClr val="accent5"/>
              </a:solidFill>
              <a:round/>
            </a:ln>
            <a:effectLst/>
          </c:spPr>
          <c:marker>
            <c:symbol val="none"/>
          </c:marker>
          <c:cat>
            <c:numRef>
              <c:f>Chart!$A$5:$A$513</c:f>
              <c:numCache>
                <c:formatCode>General</c:formatCode>
                <c:ptCount val="50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pt idx="100">
                  <c:v>101</c:v>
                </c:pt>
                <c:pt idx="101">
                  <c:v>102</c:v>
                </c:pt>
                <c:pt idx="102">
                  <c:v>103</c:v>
                </c:pt>
                <c:pt idx="103">
                  <c:v>104</c:v>
                </c:pt>
                <c:pt idx="104">
                  <c:v>105</c:v>
                </c:pt>
                <c:pt idx="105">
                  <c:v>106</c:v>
                </c:pt>
                <c:pt idx="106">
                  <c:v>107</c:v>
                </c:pt>
                <c:pt idx="107">
                  <c:v>108</c:v>
                </c:pt>
                <c:pt idx="108">
                  <c:v>109</c:v>
                </c:pt>
                <c:pt idx="109">
                  <c:v>110</c:v>
                </c:pt>
                <c:pt idx="110">
                  <c:v>111</c:v>
                </c:pt>
                <c:pt idx="111">
                  <c:v>112</c:v>
                </c:pt>
                <c:pt idx="112">
                  <c:v>113</c:v>
                </c:pt>
                <c:pt idx="113">
                  <c:v>114</c:v>
                </c:pt>
                <c:pt idx="114">
                  <c:v>115</c:v>
                </c:pt>
                <c:pt idx="115">
                  <c:v>116</c:v>
                </c:pt>
                <c:pt idx="116">
                  <c:v>117</c:v>
                </c:pt>
                <c:pt idx="117">
                  <c:v>118</c:v>
                </c:pt>
                <c:pt idx="118">
                  <c:v>119</c:v>
                </c:pt>
                <c:pt idx="119">
                  <c:v>120</c:v>
                </c:pt>
                <c:pt idx="120">
                  <c:v>121</c:v>
                </c:pt>
                <c:pt idx="121">
                  <c:v>122</c:v>
                </c:pt>
                <c:pt idx="122">
                  <c:v>123</c:v>
                </c:pt>
                <c:pt idx="123">
                  <c:v>124</c:v>
                </c:pt>
                <c:pt idx="124">
                  <c:v>125</c:v>
                </c:pt>
                <c:pt idx="125">
                  <c:v>126</c:v>
                </c:pt>
                <c:pt idx="126">
                  <c:v>127</c:v>
                </c:pt>
                <c:pt idx="127">
                  <c:v>128</c:v>
                </c:pt>
                <c:pt idx="128">
                  <c:v>129</c:v>
                </c:pt>
                <c:pt idx="129">
                  <c:v>130</c:v>
                </c:pt>
                <c:pt idx="130">
                  <c:v>131</c:v>
                </c:pt>
                <c:pt idx="131">
                  <c:v>132</c:v>
                </c:pt>
                <c:pt idx="132">
                  <c:v>133</c:v>
                </c:pt>
                <c:pt idx="133">
                  <c:v>134</c:v>
                </c:pt>
                <c:pt idx="134">
                  <c:v>135</c:v>
                </c:pt>
                <c:pt idx="135">
                  <c:v>136</c:v>
                </c:pt>
                <c:pt idx="136">
                  <c:v>137</c:v>
                </c:pt>
                <c:pt idx="137">
                  <c:v>138</c:v>
                </c:pt>
                <c:pt idx="138">
                  <c:v>139</c:v>
                </c:pt>
                <c:pt idx="139">
                  <c:v>140</c:v>
                </c:pt>
                <c:pt idx="140">
                  <c:v>141</c:v>
                </c:pt>
                <c:pt idx="141">
                  <c:v>142</c:v>
                </c:pt>
                <c:pt idx="142">
                  <c:v>143</c:v>
                </c:pt>
                <c:pt idx="143">
                  <c:v>144</c:v>
                </c:pt>
                <c:pt idx="144">
                  <c:v>145</c:v>
                </c:pt>
                <c:pt idx="145">
                  <c:v>146</c:v>
                </c:pt>
                <c:pt idx="146">
                  <c:v>147</c:v>
                </c:pt>
                <c:pt idx="147">
                  <c:v>148</c:v>
                </c:pt>
                <c:pt idx="148">
                  <c:v>149</c:v>
                </c:pt>
                <c:pt idx="149">
                  <c:v>150</c:v>
                </c:pt>
                <c:pt idx="150">
                  <c:v>151</c:v>
                </c:pt>
                <c:pt idx="151">
                  <c:v>152</c:v>
                </c:pt>
                <c:pt idx="152">
                  <c:v>153</c:v>
                </c:pt>
                <c:pt idx="153">
                  <c:v>154</c:v>
                </c:pt>
                <c:pt idx="154">
                  <c:v>155</c:v>
                </c:pt>
                <c:pt idx="155">
                  <c:v>156</c:v>
                </c:pt>
                <c:pt idx="156">
                  <c:v>157</c:v>
                </c:pt>
                <c:pt idx="157">
                  <c:v>158</c:v>
                </c:pt>
                <c:pt idx="158">
                  <c:v>159</c:v>
                </c:pt>
                <c:pt idx="159">
                  <c:v>160</c:v>
                </c:pt>
                <c:pt idx="160">
                  <c:v>161</c:v>
                </c:pt>
                <c:pt idx="161">
                  <c:v>162</c:v>
                </c:pt>
                <c:pt idx="162">
                  <c:v>163</c:v>
                </c:pt>
                <c:pt idx="163">
                  <c:v>164</c:v>
                </c:pt>
                <c:pt idx="164">
                  <c:v>165</c:v>
                </c:pt>
                <c:pt idx="165">
                  <c:v>166</c:v>
                </c:pt>
                <c:pt idx="166">
                  <c:v>167</c:v>
                </c:pt>
                <c:pt idx="167">
                  <c:v>168</c:v>
                </c:pt>
                <c:pt idx="168">
                  <c:v>169</c:v>
                </c:pt>
                <c:pt idx="169">
                  <c:v>170</c:v>
                </c:pt>
                <c:pt idx="170">
                  <c:v>171</c:v>
                </c:pt>
                <c:pt idx="171">
                  <c:v>172</c:v>
                </c:pt>
                <c:pt idx="172">
                  <c:v>173</c:v>
                </c:pt>
                <c:pt idx="173">
                  <c:v>174</c:v>
                </c:pt>
                <c:pt idx="174">
                  <c:v>175</c:v>
                </c:pt>
                <c:pt idx="175">
                  <c:v>176</c:v>
                </c:pt>
                <c:pt idx="176">
                  <c:v>177</c:v>
                </c:pt>
                <c:pt idx="177">
                  <c:v>178</c:v>
                </c:pt>
                <c:pt idx="178">
                  <c:v>179</c:v>
                </c:pt>
                <c:pt idx="179">
                  <c:v>180</c:v>
                </c:pt>
                <c:pt idx="180">
                  <c:v>181</c:v>
                </c:pt>
                <c:pt idx="181">
                  <c:v>182</c:v>
                </c:pt>
                <c:pt idx="182">
                  <c:v>183</c:v>
                </c:pt>
                <c:pt idx="183">
                  <c:v>184</c:v>
                </c:pt>
                <c:pt idx="184">
                  <c:v>185</c:v>
                </c:pt>
                <c:pt idx="185">
                  <c:v>186</c:v>
                </c:pt>
                <c:pt idx="186">
                  <c:v>187</c:v>
                </c:pt>
                <c:pt idx="187">
                  <c:v>188</c:v>
                </c:pt>
                <c:pt idx="188">
                  <c:v>189</c:v>
                </c:pt>
                <c:pt idx="189">
                  <c:v>190</c:v>
                </c:pt>
                <c:pt idx="190">
                  <c:v>191</c:v>
                </c:pt>
                <c:pt idx="191">
                  <c:v>192</c:v>
                </c:pt>
                <c:pt idx="192">
                  <c:v>193</c:v>
                </c:pt>
                <c:pt idx="193">
                  <c:v>194</c:v>
                </c:pt>
                <c:pt idx="194">
                  <c:v>195</c:v>
                </c:pt>
                <c:pt idx="195">
                  <c:v>196</c:v>
                </c:pt>
                <c:pt idx="196">
                  <c:v>197</c:v>
                </c:pt>
                <c:pt idx="197">
                  <c:v>198</c:v>
                </c:pt>
                <c:pt idx="198">
                  <c:v>199</c:v>
                </c:pt>
                <c:pt idx="199">
                  <c:v>200</c:v>
                </c:pt>
                <c:pt idx="200">
                  <c:v>201</c:v>
                </c:pt>
                <c:pt idx="201">
                  <c:v>202</c:v>
                </c:pt>
                <c:pt idx="202">
                  <c:v>203</c:v>
                </c:pt>
                <c:pt idx="203">
                  <c:v>204</c:v>
                </c:pt>
                <c:pt idx="204">
                  <c:v>205</c:v>
                </c:pt>
                <c:pt idx="205">
                  <c:v>206</c:v>
                </c:pt>
                <c:pt idx="206">
                  <c:v>207</c:v>
                </c:pt>
                <c:pt idx="207">
                  <c:v>208</c:v>
                </c:pt>
                <c:pt idx="208">
                  <c:v>209</c:v>
                </c:pt>
                <c:pt idx="209">
                  <c:v>210</c:v>
                </c:pt>
                <c:pt idx="210">
                  <c:v>211</c:v>
                </c:pt>
                <c:pt idx="211">
                  <c:v>212</c:v>
                </c:pt>
                <c:pt idx="212">
                  <c:v>213</c:v>
                </c:pt>
                <c:pt idx="213">
                  <c:v>214</c:v>
                </c:pt>
                <c:pt idx="214">
                  <c:v>215</c:v>
                </c:pt>
                <c:pt idx="215">
                  <c:v>216</c:v>
                </c:pt>
                <c:pt idx="216">
                  <c:v>217</c:v>
                </c:pt>
                <c:pt idx="217">
                  <c:v>218</c:v>
                </c:pt>
                <c:pt idx="218">
                  <c:v>219</c:v>
                </c:pt>
                <c:pt idx="219">
                  <c:v>220</c:v>
                </c:pt>
                <c:pt idx="220">
                  <c:v>221</c:v>
                </c:pt>
                <c:pt idx="221">
                  <c:v>222</c:v>
                </c:pt>
                <c:pt idx="222">
                  <c:v>223</c:v>
                </c:pt>
                <c:pt idx="223">
                  <c:v>224</c:v>
                </c:pt>
                <c:pt idx="224">
                  <c:v>225</c:v>
                </c:pt>
                <c:pt idx="225">
                  <c:v>226</c:v>
                </c:pt>
                <c:pt idx="226">
                  <c:v>227</c:v>
                </c:pt>
                <c:pt idx="227">
                  <c:v>228</c:v>
                </c:pt>
                <c:pt idx="228">
                  <c:v>229</c:v>
                </c:pt>
                <c:pt idx="229">
                  <c:v>230</c:v>
                </c:pt>
                <c:pt idx="230">
                  <c:v>231</c:v>
                </c:pt>
                <c:pt idx="231">
                  <c:v>232</c:v>
                </c:pt>
                <c:pt idx="232">
                  <c:v>233</c:v>
                </c:pt>
                <c:pt idx="233">
                  <c:v>234</c:v>
                </c:pt>
                <c:pt idx="234">
                  <c:v>235</c:v>
                </c:pt>
                <c:pt idx="235">
                  <c:v>236</c:v>
                </c:pt>
                <c:pt idx="236">
                  <c:v>237</c:v>
                </c:pt>
                <c:pt idx="237">
                  <c:v>238</c:v>
                </c:pt>
                <c:pt idx="238">
                  <c:v>239</c:v>
                </c:pt>
                <c:pt idx="239">
                  <c:v>240</c:v>
                </c:pt>
                <c:pt idx="240">
                  <c:v>241</c:v>
                </c:pt>
                <c:pt idx="241">
                  <c:v>242</c:v>
                </c:pt>
                <c:pt idx="242">
                  <c:v>243</c:v>
                </c:pt>
                <c:pt idx="243">
                  <c:v>244</c:v>
                </c:pt>
                <c:pt idx="244">
                  <c:v>245</c:v>
                </c:pt>
                <c:pt idx="245">
                  <c:v>246</c:v>
                </c:pt>
                <c:pt idx="246">
                  <c:v>247</c:v>
                </c:pt>
                <c:pt idx="247">
                  <c:v>248</c:v>
                </c:pt>
                <c:pt idx="248">
                  <c:v>249</c:v>
                </c:pt>
                <c:pt idx="249">
                  <c:v>250</c:v>
                </c:pt>
                <c:pt idx="250">
                  <c:v>251</c:v>
                </c:pt>
                <c:pt idx="251">
                  <c:v>252</c:v>
                </c:pt>
                <c:pt idx="252">
                  <c:v>253</c:v>
                </c:pt>
                <c:pt idx="253">
                  <c:v>254</c:v>
                </c:pt>
                <c:pt idx="254">
                  <c:v>255</c:v>
                </c:pt>
                <c:pt idx="255">
                  <c:v>256</c:v>
                </c:pt>
                <c:pt idx="256">
                  <c:v>257</c:v>
                </c:pt>
                <c:pt idx="257">
                  <c:v>258</c:v>
                </c:pt>
                <c:pt idx="258">
                  <c:v>259</c:v>
                </c:pt>
                <c:pt idx="259">
                  <c:v>260</c:v>
                </c:pt>
                <c:pt idx="260">
                  <c:v>261</c:v>
                </c:pt>
                <c:pt idx="261">
                  <c:v>262</c:v>
                </c:pt>
                <c:pt idx="262">
                  <c:v>263</c:v>
                </c:pt>
                <c:pt idx="263">
                  <c:v>264</c:v>
                </c:pt>
                <c:pt idx="264">
                  <c:v>265</c:v>
                </c:pt>
                <c:pt idx="265">
                  <c:v>266</c:v>
                </c:pt>
                <c:pt idx="266">
                  <c:v>267</c:v>
                </c:pt>
                <c:pt idx="267">
                  <c:v>268</c:v>
                </c:pt>
                <c:pt idx="268">
                  <c:v>269</c:v>
                </c:pt>
                <c:pt idx="269">
                  <c:v>270</c:v>
                </c:pt>
                <c:pt idx="270">
                  <c:v>271</c:v>
                </c:pt>
                <c:pt idx="271">
                  <c:v>272</c:v>
                </c:pt>
                <c:pt idx="272">
                  <c:v>273</c:v>
                </c:pt>
                <c:pt idx="273">
                  <c:v>274</c:v>
                </c:pt>
                <c:pt idx="274">
                  <c:v>275</c:v>
                </c:pt>
                <c:pt idx="275">
                  <c:v>276</c:v>
                </c:pt>
                <c:pt idx="276">
                  <c:v>277</c:v>
                </c:pt>
                <c:pt idx="277">
                  <c:v>278</c:v>
                </c:pt>
                <c:pt idx="278">
                  <c:v>279</c:v>
                </c:pt>
                <c:pt idx="279">
                  <c:v>280</c:v>
                </c:pt>
                <c:pt idx="280">
                  <c:v>281</c:v>
                </c:pt>
                <c:pt idx="281">
                  <c:v>282</c:v>
                </c:pt>
                <c:pt idx="282">
                  <c:v>283</c:v>
                </c:pt>
                <c:pt idx="283">
                  <c:v>284</c:v>
                </c:pt>
                <c:pt idx="284">
                  <c:v>285</c:v>
                </c:pt>
                <c:pt idx="285">
                  <c:v>286</c:v>
                </c:pt>
                <c:pt idx="286">
                  <c:v>287</c:v>
                </c:pt>
                <c:pt idx="287">
                  <c:v>288</c:v>
                </c:pt>
                <c:pt idx="288">
                  <c:v>289</c:v>
                </c:pt>
                <c:pt idx="289">
                  <c:v>290</c:v>
                </c:pt>
                <c:pt idx="290">
                  <c:v>291</c:v>
                </c:pt>
                <c:pt idx="291">
                  <c:v>292</c:v>
                </c:pt>
                <c:pt idx="292">
                  <c:v>293</c:v>
                </c:pt>
                <c:pt idx="293">
                  <c:v>294</c:v>
                </c:pt>
                <c:pt idx="294">
                  <c:v>295</c:v>
                </c:pt>
                <c:pt idx="295">
                  <c:v>296</c:v>
                </c:pt>
                <c:pt idx="296">
                  <c:v>297</c:v>
                </c:pt>
                <c:pt idx="297">
                  <c:v>298</c:v>
                </c:pt>
                <c:pt idx="298">
                  <c:v>299</c:v>
                </c:pt>
                <c:pt idx="299">
                  <c:v>300</c:v>
                </c:pt>
                <c:pt idx="300">
                  <c:v>301</c:v>
                </c:pt>
                <c:pt idx="301">
                  <c:v>302</c:v>
                </c:pt>
                <c:pt idx="302">
                  <c:v>303</c:v>
                </c:pt>
                <c:pt idx="303">
                  <c:v>304</c:v>
                </c:pt>
                <c:pt idx="304">
                  <c:v>305</c:v>
                </c:pt>
                <c:pt idx="305">
                  <c:v>306</c:v>
                </c:pt>
                <c:pt idx="306">
                  <c:v>307</c:v>
                </c:pt>
                <c:pt idx="307">
                  <c:v>308</c:v>
                </c:pt>
                <c:pt idx="308">
                  <c:v>309</c:v>
                </c:pt>
                <c:pt idx="309">
                  <c:v>310</c:v>
                </c:pt>
                <c:pt idx="310">
                  <c:v>311</c:v>
                </c:pt>
                <c:pt idx="311">
                  <c:v>312</c:v>
                </c:pt>
                <c:pt idx="312">
                  <c:v>313</c:v>
                </c:pt>
                <c:pt idx="313">
                  <c:v>314</c:v>
                </c:pt>
                <c:pt idx="314">
                  <c:v>315</c:v>
                </c:pt>
                <c:pt idx="315">
                  <c:v>316</c:v>
                </c:pt>
                <c:pt idx="316">
                  <c:v>317</c:v>
                </c:pt>
                <c:pt idx="317">
                  <c:v>318</c:v>
                </c:pt>
                <c:pt idx="318">
                  <c:v>319</c:v>
                </c:pt>
                <c:pt idx="319">
                  <c:v>320</c:v>
                </c:pt>
                <c:pt idx="320">
                  <c:v>321</c:v>
                </c:pt>
                <c:pt idx="321">
                  <c:v>322</c:v>
                </c:pt>
                <c:pt idx="322">
                  <c:v>323</c:v>
                </c:pt>
                <c:pt idx="323">
                  <c:v>324</c:v>
                </c:pt>
                <c:pt idx="324">
                  <c:v>325</c:v>
                </c:pt>
                <c:pt idx="325">
                  <c:v>326</c:v>
                </c:pt>
                <c:pt idx="326">
                  <c:v>327</c:v>
                </c:pt>
                <c:pt idx="327">
                  <c:v>328</c:v>
                </c:pt>
                <c:pt idx="328">
                  <c:v>329</c:v>
                </c:pt>
                <c:pt idx="329">
                  <c:v>330</c:v>
                </c:pt>
                <c:pt idx="330">
                  <c:v>331</c:v>
                </c:pt>
                <c:pt idx="331">
                  <c:v>332</c:v>
                </c:pt>
                <c:pt idx="332">
                  <c:v>333</c:v>
                </c:pt>
                <c:pt idx="333">
                  <c:v>334</c:v>
                </c:pt>
                <c:pt idx="334">
                  <c:v>335</c:v>
                </c:pt>
                <c:pt idx="335">
                  <c:v>336</c:v>
                </c:pt>
                <c:pt idx="336">
                  <c:v>337</c:v>
                </c:pt>
                <c:pt idx="337">
                  <c:v>338</c:v>
                </c:pt>
                <c:pt idx="338">
                  <c:v>339</c:v>
                </c:pt>
                <c:pt idx="339">
                  <c:v>340</c:v>
                </c:pt>
                <c:pt idx="340">
                  <c:v>341</c:v>
                </c:pt>
                <c:pt idx="341">
                  <c:v>342</c:v>
                </c:pt>
                <c:pt idx="342">
                  <c:v>343</c:v>
                </c:pt>
                <c:pt idx="343">
                  <c:v>344</c:v>
                </c:pt>
                <c:pt idx="344">
                  <c:v>345</c:v>
                </c:pt>
                <c:pt idx="345">
                  <c:v>346</c:v>
                </c:pt>
                <c:pt idx="346">
                  <c:v>347</c:v>
                </c:pt>
                <c:pt idx="347">
                  <c:v>348</c:v>
                </c:pt>
                <c:pt idx="348">
                  <c:v>349</c:v>
                </c:pt>
                <c:pt idx="349">
                  <c:v>350</c:v>
                </c:pt>
                <c:pt idx="350">
                  <c:v>351</c:v>
                </c:pt>
                <c:pt idx="351">
                  <c:v>352</c:v>
                </c:pt>
                <c:pt idx="352">
                  <c:v>353</c:v>
                </c:pt>
                <c:pt idx="353">
                  <c:v>354</c:v>
                </c:pt>
                <c:pt idx="354">
                  <c:v>355</c:v>
                </c:pt>
                <c:pt idx="355">
                  <c:v>356</c:v>
                </c:pt>
                <c:pt idx="356">
                  <c:v>357</c:v>
                </c:pt>
                <c:pt idx="357">
                  <c:v>358</c:v>
                </c:pt>
                <c:pt idx="358">
                  <c:v>359</c:v>
                </c:pt>
                <c:pt idx="359">
                  <c:v>360</c:v>
                </c:pt>
                <c:pt idx="360">
                  <c:v>361</c:v>
                </c:pt>
                <c:pt idx="361">
                  <c:v>362</c:v>
                </c:pt>
                <c:pt idx="362">
                  <c:v>363</c:v>
                </c:pt>
                <c:pt idx="363">
                  <c:v>364</c:v>
                </c:pt>
                <c:pt idx="364">
                  <c:v>365</c:v>
                </c:pt>
                <c:pt idx="365">
                  <c:v>366</c:v>
                </c:pt>
                <c:pt idx="366">
                  <c:v>367</c:v>
                </c:pt>
                <c:pt idx="367">
                  <c:v>368</c:v>
                </c:pt>
                <c:pt idx="368">
                  <c:v>369</c:v>
                </c:pt>
                <c:pt idx="369">
                  <c:v>370</c:v>
                </c:pt>
                <c:pt idx="370">
                  <c:v>371</c:v>
                </c:pt>
                <c:pt idx="371">
                  <c:v>372</c:v>
                </c:pt>
                <c:pt idx="372">
                  <c:v>373</c:v>
                </c:pt>
                <c:pt idx="373">
                  <c:v>374</c:v>
                </c:pt>
                <c:pt idx="374">
                  <c:v>375</c:v>
                </c:pt>
                <c:pt idx="375">
                  <c:v>376</c:v>
                </c:pt>
                <c:pt idx="376">
                  <c:v>377</c:v>
                </c:pt>
                <c:pt idx="377">
                  <c:v>378</c:v>
                </c:pt>
                <c:pt idx="378">
                  <c:v>379</c:v>
                </c:pt>
                <c:pt idx="379">
                  <c:v>380</c:v>
                </c:pt>
                <c:pt idx="380">
                  <c:v>381</c:v>
                </c:pt>
                <c:pt idx="381">
                  <c:v>382</c:v>
                </c:pt>
                <c:pt idx="382">
                  <c:v>383</c:v>
                </c:pt>
                <c:pt idx="383">
                  <c:v>384</c:v>
                </c:pt>
                <c:pt idx="384">
                  <c:v>385</c:v>
                </c:pt>
                <c:pt idx="385">
                  <c:v>386</c:v>
                </c:pt>
                <c:pt idx="386">
                  <c:v>387</c:v>
                </c:pt>
                <c:pt idx="387">
                  <c:v>388</c:v>
                </c:pt>
                <c:pt idx="388">
                  <c:v>389</c:v>
                </c:pt>
                <c:pt idx="389">
                  <c:v>390</c:v>
                </c:pt>
                <c:pt idx="390">
                  <c:v>391</c:v>
                </c:pt>
                <c:pt idx="391">
                  <c:v>392</c:v>
                </c:pt>
                <c:pt idx="392">
                  <c:v>393</c:v>
                </c:pt>
                <c:pt idx="393">
                  <c:v>394</c:v>
                </c:pt>
                <c:pt idx="394">
                  <c:v>395</c:v>
                </c:pt>
                <c:pt idx="395">
                  <c:v>396</c:v>
                </c:pt>
                <c:pt idx="396">
                  <c:v>397</c:v>
                </c:pt>
                <c:pt idx="397">
                  <c:v>398</c:v>
                </c:pt>
                <c:pt idx="398">
                  <c:v>399</c:v>
                </c:pt>
                <c:pt idx="399">
                  <c:v>400</c:v>
                </c:pt>
                <c:pt idx="400">
                  <c:v>401</c:v>
                </c:pt>
                <c:pt idx="401">
                  <c:v>402</c:v>
                </c:pt>
                <c:pt idx="402">
                  <c:v>403</c:v>
                </c:pt>
                <c:pt idx="403">
                  <c:v>404</c:v>
                </c:pt>
                <c:pt idx="404">
                  <c:v>405</c:v>
                </c:pt>
                <c:pt idx="405">
                  <c:v>406</c:v>
                </c:pt>
                <c:pt idx="406">
                  <c:v>407</c:v>
                </c:pt>
                <c:pt idx="407">
                  <c:v>408</c:v>
                </c:pt>
                <c:pt idx="408">
                  <c:v>409</c:v>
                </c:pt>
                <c:pt idx="409">
                  <c:v>410</c:v>
                </c:pt>
                <c:pt idx="410">
                  <c:v>411</c:v>
                </c:pt>
                <c:pt idx="411">
                  <c:v>412</c:v>
                </c:pt>
                <c:pt idx="412">
                  <c:v>413</c:v>
                </c:pt>
                <c:pt idx="413">
                  <c:v>414</c:v>
                </c:pt>
                <c:pt idx="414">
                  <c:v>415</c:v>
                </c:pt>
                <c:pt idx="415">
                  <c:v>416</c:v>
                </c:pt>
                <c:pt idx="416">
                  <c:v>417</c:v>
                </c:pt>
                <c:pt idx="417">
                  <c:v>418</c:v>
                </c:pt>
                <c:pt idx="418">
                  <c:v>419</c:v>
                </c:pt>
                <c:pt idx="419">
                  <c:v>420</c:v>
                </c:pt>
                <c:pt idx="420">
                  <c:v>421</c:v>
                </c:pt>
                <c:pt idx="421">
                  <c:v>422</c:v>
                </c:pt>
                <c:pt idx="422">
                  <c:v>423</c:v>
                </c:pt>
                <c:pt idx="423">
                  <c:v>424</c:v>
                </c:pt>
                <c:pt idx="424">
                  <c:v>425</c:v>
                </c:pt>
                <c:pt idx="425">
                  <c:v>426</c:v>
                </c:pt>
                <c:pt idx="426">
                  <c:v>427</c:v>
                </c:pt>
                <c:pt idx="427">
                  <c:v>428</c:v>
                </c:pt>
                <c:pt idx="428">
                  <c:v>429</c:v>
                </c:pt>
                <c:pt idx="429">
                  <c:v>430</c:v>
                </c:pt>
                <c:pt idx="430">
                  <c:v>431</c:v>
                </c:pt>
                <c:pt idx="431">
                  <c:v>432</c:v>
                </c:pt>
                <c:pt idx="432">
                  <c:v>433</c:v>
                </c:pt>
                <c:pt idx="433">
                  <c:v>434</c:v>
                </c:pt>
                <c:pt idx="434">
                  <c:v>435</c:v>
                </c:pt>
                <c:pt idx="435">
                  <c:v>436</c:v>
                </c:pt>
                <c:pt idx="436">
                  <c:v>437</c:v>
                </c:pt>
                <c:pt idx="437">
                  <c:v>438</c:v>
                </c:pt>
                <c:pt idx="438">
                  <c:v>439</c:v>
                </c:pt>
                <c:pt idx="439">
                  <c:v>440</c:v>
                </c:pt>
                <c:pt idx="440">
                  <c:v>441</c:v>
                </c:pt>
                <c:pt idx="441">
                  <c:v>442</c:v>
                </c:pt>
                <c:pt idx="442">
                  <c:v>443</c:v>
                </c:pt>
                <c:pt idx="443">
                  <c:v>444</c:v>
                </c:pt>
                <c:pt idx="444">
                  <c:v>445</c:v>
                </c:pt>
                <c:pt idx="445">
                  <c:v>446</c:v>
                </c:pt>
                <c:pt idx="446">
                  <c:v>447</c:v>
                </c:pt>
                <c:pt idx="447">
                  <c:v>448</c:v>
                </c:pt>
                <c:pt idx="448">
                  <c:v>449</c:v>
                </c:pt>
                <c:pt idx="449">
                  <c:v>450</c:v>
                </c:pt>
                <c:pt idx="450">
                  <c:v>451</c:v>
                </c:pt>
                <c:pt idx="451">
                  <c:v>452</c:v>
                </c:pt>
                <c:pt idx="452">
                  <c:v>453</c:v>
                </c:pt>
                <c:pt idx="453">
                  <c:v>454</c:v>
                </c:pt>
                <c:pt idx="454">
                  <c:v>455</c:v>
                </c:pt>
                <c:pt idx="455">
                  <c:v>456</c:v>
                </c:pt>
                <c:pt idx="456">
                  <c:v>457</c:v>
                </c:pt>
                <c:pt idx="457">
                  <c:v>458</c:v>
                </c:pt>
                <c:pt idx="458">
                  <c:v>459</c:v>
                </c:pt>
                <c:pt idx="459">
                  <c:v>460</c:v>
                </c:pt>
                <c:pt idx="460">
                  <c:v>461</c:v>
                </c:pt>
                <c:pt idx="461">
                  <c:v>462</c:v>
                </c:pt>
                <c:pt idx="462">
                  <c:v>463</c:v>
                </c:pt>
                <c:pt idx="463">
                  <c:v>464</c:v>
                </c:pt>
                <c:pt idx="464">
                  <c:v>465</c:v>
                </c:pt>
                <c:pt idx="465">
                  <c:v>466</c:v>
                </c:pt>
                <c:pt idx="466">
                  <c:v>467</c:v>
                </c:pt>
                <c:pt idx="467">
                  <c:v>468</c:v>
                </c:pt>
                <c:pt idx="468">
                  <c:v>469</c:v>
                </c:pt>
                <c:pt idx="469">
                  <c:v>470</c:v>
                </c:pt>
                <c:pt idx="470">
                  <c:v>471</c:v>
                </c:pt>
                <c:pt idx="471">
                  <c:v>472</c:v>
                </c:pt>
                <c:pt idx="472">
                  <c:v>473</c:v>
                </c:pt>
                <c:pt idx="473">
                  <c:v>474</c:v>
                </c:pt>
                <c:pt idx="474">
                  <c:v>475</c:v>
                </c:pt>
                <c:pt idx="475">
                  <c:v>476</c:v>
                </c:pt>
                <c:pt idx="476">
                  <c:v>477</c:v>
                </c:pt>
                <c:pt idx="477">
                  <c:v>478</c:v>
                </c:pt>
                <c:pt idx="478">
                  <c:v>479</c:v>
                </c:pt>
                <c:pt idx="479">
                  <c:v>480</c:v>
                </c:pt>
                <c:pt idx="480">
                  <c:v>481</c:v>
                </c:pt>
                <c:pt idx="481">
                  <c:v>482</c:v>
                </c:pt>
                <c:pt idx="482">
                  <c:v>483</c:v>
                </c:pt>
                <c:pt idx="483">
                  <c:v>484</c:v>
                </c:pt>
                <c:pt idx="484">
                  <c:v>485</c:v>
                </c:pt>
                <c:pt idx="485">
                  <c:v>486</c:v>
                </c:pt>
                <c:pt idx="486">
                  <c:v>487</c:v>
                </c:pt>
                <c:pt idx="487">
                  <c:v>488</c:v>
                </c:pt>
                <c:pt idx="488">
                  <c:v>489</c:v>
                </c:pt>
                <c:pt idx="489">
                  <c:v>490</c:v>
                </c:pt>
                <c:pt idx="490">
                  <c:v>491</c:v>
                </c:pt>
                <c:pt idx="491">
                  <c:v>492</c:v>
                </c:pt>
                <c:pt idx="492">
                  <c:v>493</c:v>
                </c:pt>
                <c:pt idx="493">
                  <c:v>494</c:v>
                </c:pt>
                <c:pt idx="494">
                  <c:v>495</c:v>
                </c:pt>
                <c:pt idx="495">
                  <c:v>496</c:v>
                </c:pt>
                <c:pt idx="496">
                  <c:v>497</c:v>
                </c:pt>
                <c:pt idx="497">
                  <c:v>498</c:v>
                </c:pt>
                <c:pt idx="498">
                  <c:v>499</c:v>
                </c:pt>
                <c:pt idx="499">
                  <c:v>500</c:v>
                </c:pt>
                <c:pt idx="500">
                  <c:v>501</c:v>
                </c:pt>
                <c:pt idx="501">
                  <c:v>502</c:v>
                </c:pt>
                <c:pt idx="502">
                  <c:v>503</c:v>
                </c:pt>
                <c:pt idx="503">
                  <c:v>504</c:v>
                </c:pt>
                <c:pt idx="504">
                  <c:v>505</c:v>
                </c:pt>
                <c:pt idx="505">
                  <c:v>506</c:v>
                </c:pt>
                <c:pt idx="506">
                  <c:v>507</c:v>
                </c:pt>
                <c:pt idx="507">
                  <c:v>508</c:v>
                </c:pt>
                <c:pt idx="508">
                  <c:v>509</c:v>
                </c:pt>
              </c:numCache>
            </c:numRef>
          </c:cat>
          <c:val>
            <c:numRef>
              <c:f>Chart!$F$5:$F$513</c:f>
              <c:numCache>
                <c:formatCode>0%</c:formatCode>
                <c:ptCount val="509"/>
                <c:pt idx="0">
                  <c:v>-1.7355599999999999E-2</c:v>
                </c:pt>
                <c:pt idx="1">
                  <c:v>-1.6408920385039938E-2</c:v>
                </c:pt>
                <c:pt idx="2">
                  <c:v>2.4771284063415555E-2</c:v>
                </c:pt>
                <c:pt idx="3">
                  <c:v>2.3035731416725769E-2</c:v>
                </c:pt>
                <c:pt idx="4">
                  <c:v>7.0053737507626446E-2</c:v>
                </c:pt>
                <c:pt idx="5">
                  <c:v>0.10113612344787914</c:v>
                </c:pt>
                <c:pt idx="6">
                  <c:v>0.12243617027901799</c:v>
                </c:pt>
                <c:pt idx="7">
                  <c:v>0.14768076994114643</c:v>
                </c:pt>
                <c:pt idx="8">
                  <c:v>0.12716953398883524</c:v>
                </c:pt>
                <c:pt idx="9">
                  <c:v>0.10965613735448376</c:v>
                </c:pt>
                <c:pt idx="10">
                  <c:v>0.12290953736220445</c:v>
                </c:pt>
                <c:pt idx="11">
                  <c:v>0.14042299596167407</c:v>
                </c:pt>
                <c:pt idx="12">
                  <c:v>0.15967196762591196</c:v>
                </c:pt>
                <c:pt idx="13">
                  <c:v>0.15383417894088325</c:v>
                </c:pt>
                <c:pt idx="14">
                  <c:v>0.12070067665841688</c:v>
                </c:pt>
                <c:pt idx="15">
                  <c:v>0.10792065442207499</c:v>
                </c:pt>
                <c:pt idx="16">
                  <c:v>0.10634286461811238</c:v>
                </c:pt>
                <c:pt idx="17">
                  <c:v>0.10586957114062878</c:v>
                </c:pt>
                <c:pt idx="18">
                  <c:v>0.14910088793740095</c:v>
                </c:pt>
                <c:pt idx="19">
                  <c:v>0.17245211181144326</c:v>
                </c:pt>
                <c:pt idx="20">
                  <c:v>0.1659832245297348</c:v>
                </c:pt>
                <c:pt idx="21">
                  <c:v>0.16566770946917697</c:v>
                </c:pt>
                <c:pt idx="22">
                  <c:v>0.15304539324396105</c:v>
                </c:pt>
                <c:pt idx="23">
                  <c:v>0.18507445756841312</c:v>
                </c:pt>
                <c:pt idx="24">
                  <c:v>0.17939439569328774</c:v>
                </c:pt>
                <c:pt idx="25">
                  <c:v>0.18665215292550519</c:v>
                </c:pt>
                <c:pt idx="26">
                  <c:v>0.18191883481791593</c:v>
                </c:pt>
                <c:pt idx="27">
                  <c:v>0.18570546638090568</c:v>
                </c:pt>
                <c:pt idx="28">
                  <c:v>0.16235430149654673</c:v>
                </c:pt>
                <c:pt idx="29">
                  <c:v>0.15730538311713627</c:v>
                </c:pt>
                <c:pt idx="30">
                  <c:v>0.15272986055444426</c:v>
                </c:pt>
                <c:pt idx="31">
                  <c:v>0.13458531618438707</c:v>
                </c:pt>
                <c:pt idx="32">
                  <c:v>9.2931739305436079E-2</c:v>
                </c:pt>
                <c:pt idx="33">
                  <c:v>7.6049441314732791E-2</c:v>
                </c:pt>
                <c:pt idx="34">
                  <c:v>7.1316115032277416E-2</c:v>
                </c:pt>
                <c:pt idx="35">
                  <c:v>7.5733901295836015E-2</c:v>
                </c:pt>
                <c:pt idx="36">
                  <c:v>8.7093974013690456E-2</c:v>
                </c:pt>
                <c:pt idx="37">
                  <c:v>8.5989486536092619E-2</c:v>
                </c:pt>
                <c:pt idx="38">
                  <c:v>9.6087342578751178E-2</c:v>
                </c:pt>
                <c:pt idx="39">
                  <c:v>0.10350292149496765</c:v>
                </c:pt>
                <c:pt idx="40">
                  <c:v>0.10397621389799672</c:v>
                </c:pt>
                <c:pt idx="41">
                  <c:v>7.4629434999188948E-2</c:v>
                </c:pt>
                <c:pt idx="42">
                  <c:v>5.9798259240878116E-2</c:v>
                </c:pt>
                <c:pt idx="43">
                  <c:v>6.3584918421145886E-2</c:v>
                </c:pt>
                <c:pt idx="44">
                  <c:v>4.3389248914689649E-2</c:v>
                </c:pt>
                <c:pt idx="45">
                  <c:v>2.5718095578295852E-2</c:v>
                </c:pt>
                <c:pt idx="46">
                  <c:v>3.5027000154716603E-2</c:v>
                </c:pt>
                <c:pt idx="47">
                  <c:v>6.1533834623278771E-2</c:v>
                </c:pt>
                <c:pt idx="48">
                  <c:v>6.7687227802439631E-2</c:v>
                </c:pt>
                <c:pt idx="49">
                  <c:v>6.4216069856131153E-2</c:v>
                </c:pt>
                <c:pt idx="50">
                  <c:v>5.8220489361775707E-2</c:v>
                </c:pt>
                <c:pt idx="51">
                  <c:v>4.8595974011030441E-2</c:v>
                </c:pt>
                <c:pt idx="52">
                  <c:v>6.6267123084259083E-2</c:v>
                </c:pt>
                <c:pt idx="53">
                  <c:v>7.1316004538775291E-2</c:v>
                </c:pt>
                <c:pt idx="54">
                  <c:v>6.7371526141663862E-2</c:v>
                </c:pt>
                <c:pt idx="55">
                  <c:v>5.569586922865799E-2</c:v>
                </c:pt>
                <c:pt idx="56">
                  <c:v>4.0706888138175579E-2</c:v>
                </c:pt>
                <c:pt idx="57">
                  <c:v>5.522245967254924E-2</c:v>
                </c:pt>
                <c:pt idx="58">
                  <c:v>6.4058048371879561E-2</c:v>
                </c:pt>
                <c:pt idx="59">
                  <c:v>5.9324692549502123E-2</c:v>
                </c:pt>
                <c:pt idx="60">
                  <c:v>5.9640265375412671E-2</c:v>
                </c:pt>
                <c:pt idx="61">
                  <c:v>8.1729208455348923E-2</c:v>
                </c:pt>
                <c:pt idx="62">
                  <c:v>0.10807818486074594</c:v>
                </c:pt>
                <c:pt idx="63">
                  <c:v>0.11565156683081357</c:v>
                </c:pt>
                <c:pt idx="64">
                  <c:v>0.12133157208786272</c:v>
                </c:pt>
                <c:pt idx="65">
                  <c:v>0.12054271532689897</c:v>
                </c:pt>
                <c:pt idx="66">
                  <c:v>0.10508045845237479</c:v>
                </c:pt>
                <c:pt idx="67">
                  <c:v>0.12290938453686207</c:v>
                </c:pt>
                <c:pt idx="68">
                  <c:v>0.14562943469607337</c:v>
                </c:pt>
                <c:pt idx="69">
                  <c:v>0.14089603756073954</c:v>
                </c:pt>
                <c:pt idx="70">
                  <c:v>0.13095598083349169</c:v>
                </c:pt>
                <c:pt idx="71">
                  <c:v>0.13821377774489241</c:v>
                </c:pt>
                <c:pt idx="72">
                  <c:v>0.13679374223577789</c:v>
                </c:pt>
                <c:pt idx="73">
                  <c:v>0.11959587178573816</c:v>
                </c:pt>
                <c:pt idx="74">
                  <c:v>0.12148922036451504</c:v>
                </c:pt>
                <c:pt idx="75">
                  <c:v>0.11549362684352427</c:v>
                </c:pt>
                <c:pt idx="76">
                  <c:v>0.13190253809439256</c:v>
                </c:pt>
                <c:pt idx="77">
                  <c:v>0.13710917657937305</c:v>
                </c:pt>
                <c:pt idx="78">
                  <c:v>0.15146699930837015</c:v>
                </c:pt>
                <c:pt idx="79">
                  <c:v>0.18917604662862009</c:v>
                </c:pt>
                <c:pt idx="80">
                  <c:v>0.19958942343373764</c:v>
                </c:pt>
                <c:pt idx="81">
                  <c:v>0.2189961412081638</c:v>
                </c:pt>
                <c:pt idx="82">
                  <c:v>0.20242937415107431</c:v>
                </c:pt>
                <c:pt idx="83">
                  <c:v>0.21457835981868434</c:v>
                </c:pt>
                <c:pt idx="84">
                  <c:v>0.22783171742318986</c:v>
                </c:pt>
                <c:pt idx="85">
                  <c:v>0.22451841353372326</c:v>
                </c:pt>
                <c:pt idx="86">
                  <c:v>0.24566070355811398</c:v>
                </c:pt>
                <c:pt idx="87">
                  <c:v>0.23950738881467748</c:v>
                </c:pt>
                <c:pt idx="88">
                  <c:v>0.24061178989811127</c:v>
                </c:pt>
                <c:pt idx="89">
                  <c:v>0.23635177713395916</c:v>
                </c:pt>
                <c:pt idx="90">
                  <c:v>0.23982295838344037</c:v>
                </c:pt>
                <c:pt idx="91">
                  <c:v>0.26096528734586566</c:v>
                </c:pt>
                <c:pt idx="92">
                  <c:v>0.27816308851386085</c:v>
                </c:pt>
                <c:pt idx="93">
                  <c:v>0.28589418577104575</c:v>
                </c:pt>
                <c:pt idx="94">
                  <c:v>0.27690077042518157</c:v>
                </c:pt>
                <c:pt idx="95">
                  <c:v>0.28494741601016993</c:v>
                </c:pt>
                <c:pt idx="96">
                  <c:v>0.29709633683906311</c:v>
                </c:pt>
                <c:pt idx="97">
                  <c:v>0.30356521569014694</c:v>
                </c:pt>
                <c:pt idx="98">
                  <c:v>0.28494730621009556</c:v>
                </c:pt>
                <c:pt idx="99">
                  <c:v>0.25481169402701132</c:v>
                </c:pt>
                <c:pt idx="100">
                  <c:v>0.26806514062049414</c:v>
                </c:pt>
                <c:pt idx="101">
                  <c:v>0.27437630082536235</c:v>
                </c:pt>
                <c:pt idx="102">
                  <c:v>0.28731415134423144</c:v>
                </c:pt>
                <c:pt idx="103">
                  <c:v>0.31003421626413585</c:v>
                </c:pt>
                <c:pt idx="104">
                  <c:v>0.31839642667339296</c:v>
                </c:pt>
                <c:pt idx="105">
                  <c:v>0.30798307249731316</c:v>
                </c:pt>
                <c:pt idx="106">
                  <c:v>0.3204476279849835</c:v>
                </c:pt>
                <c:pt idx="107">
                  <c:v>0.33007210665584052</c:v>
                </c:pt>
                <c:pt idx="108">
                  <c:v>0.34032776064142101</c:v>
                </c:pt>
                <c:pt idx="109">
                  <c:v>0.33101878224543801</c:v>
                </c:pt>
                <c:pt idx="110">
                  <c:v>0.31886990831049289</c:v>
                </c:pt>
                <c:pt idx="111">
                  <c:v>0.32123662036095602</c:v>
                </c:pt>
                <c:pt idx="112">
                  <c:v>0.33733007513892477</c:v>
                </c:pt>
                <c:pt idx="113">
                  <c:v>0.35705235042203598</c:v>
                </c:pt>
                <c:pt idx="114">
                  <c:v>0.34316780500392796</c:v>
                </c:pt>
                <c:pt idx="115">
                  <c:v>0.33070334209027208</c:v>
                </c:pt>
                <c:pt idx="116">
                  <c:v>0.31918557238314405</c:v>
                </c:pt>
                <c:pt idx="117">
                  <c:v>0.31571439938653234</c:v>
                </c:pt>
                <c:pt idx="118">
                  <c:v>0.28463209398686473</c:v>
                </c:pt>
                <c:pt idx="119">
                  <c:v>0.29472994456164847</c:v>
                </c:pt>
                <c:pt idx="120">
                  <c:v>0.31887005490500586</c:v>
                </c:pt>
                <c:pt idx="121">
                  <c:v>0.32297226832378234</c:v>
                </c:pt>
                <c:pt idx="122">
                  <c:v>0.31524108298215192</c:v>
                </c:pt>
                <c:pt idx="123">
                  <c:v>0.30388108270021852</c:v>
                </c:pt>
                <c:pt idx="124">
                  <c:v>0.30056779048096893</c:v>
                </c:pt>
                <c:pt idx="125">
                  <c:v>0.28605215337141088</c:v>
                </c:pt>
                <c:pt idx="126">
                  <c:v>0.27611212767278781</c:v>
                </c:pt>
                <c:pt idx="127">
                  <c:v>0.26774989251136083</c:v>
                </c:pt>
                <c:pt idx="128">
                  <c:v>0.27784777395519211</c:v>
                </c:pt>
                <c:pt idx="129">
                  <c:v>0.30703675616220871</c:v>
                </c:pt>
                <c:pt idx="130">
                  <c:v>0.32171020430526376</c:v>
                </c:pt>
                <c:pt idx="131">
                  <c:v>0.32817918272921531</c:v>
                </c:pt>
                <c:pt idx="132">
                  <c:v>0.35058370609100131</c:v>
                </c:pt>
                <c:pt idx="133">
                  <c:v>0.36162823940593114</c:v>
                </c:pt>
                <c:pt idx="134">
                  <c:v>0.36636153149175388</c:v>
                </c:pt>
                <c:pt idx="135">
                  <c:v>0.37661716787482447</c:v>
                </c:pt>
                <c:pt idx="136">
                  <c:v>0.36162814716585312</c:v>
                </c:pt>
                <c:pt idx="137">
                  <c:v>0.37630159673097108</c:v>
                </c:pt>
                <c:pt idx="138">
                  <c:v>0.37409263266821791</c:v>
                </c:pt>
                <c:pt idx="139">
                  <c:v>0.35878812633482249</c:v>
                </c:pt>
                <c:pt idx="140">
                  <c:v>0.35752594804427007</c:v>
                </c:pt>
                <c:pt idx="141">
                  <c:v>0.36667716621263113</c:v>
                </c:pt>
                <c:pt idx="142">
                  <c:v>0.36052383893947537</c:v>
                </c:pt>
                <c:pt idx="143">
                  <c:v>0.35121486272868374</c:v>
                </c:pt>
                <c:pt idx="144">
                  <c:v>0.37740613602038509</c:v>
                </c:pt>
                <c:pt idx="145">
                  <c:v>0.39002841036964875</c:v>
                </c:pt>
                <c:pt idx="146">
                  <c:v>0.40769956354499604</c:v>
                </c:pt>
                <c:pt idx="147">
                  <c:v>0.4212685204079627</c:v>
                </c:pt>
                <c:pt idx="148">
                  <c:v>0.3985484060944251</c:v>
                </c:pt>
                <c:pt idx="149">
                  <c:v>0.4054906605274371</c:v>
                </c:pt>
                <c:pt idx="150">
                  <c:v>0.41306400640262297</c:v>
                </c:pt>
                <c:pt idx="151">
                  <c:v>0.42836847873676809</c:v>
                </c:pt>
                <c:pt idx="152">
                  <c:v>0.42963072796142776</c:v>
                </c:pt>
                <c:pt idx="153">
                  <c:v>0.44493521083040055</c:v>
                </c:pt>
                <c:pt idx="154">
                  <c:v>0.45582193068288102</c:v>
                </c:pt>
                <c:pt idx="155">
                  <c:v>0.44225294237795132</c:v>
                </c:pt>
                <c:pt idx="156">
                  <c:v>0.42679069280801141</c:v>
                </c:pt>
                <c:pt idx="157">
                  <c:v>0.42836843795611834</c:v>
                </c:pt>
                <c:pt idx="158">
                  <c:v>0.42111061224917568</c:v>
                </c:pt>
                <c:pt idx="159">
                  <c:v>0.40517498839871946</c:v>
                </c:pt>
                <c:pt idx="160">
                  <c:v>0.41038172380073212</c:v>
                </c:pt>
                <c:pt idx="161">
                  <c:v>0.42915743049882948</c:v>
                </c:pt>
                <c:pt idx="162">
                  <c:v>0.42537073497097966</c:v>
                </c:pt>
                <c:pt idx="163">
                  <c:v>0.41543062707651268</c:v>
                </c:pt>
                <c:pt idx="164">
                  <c:v>0.41495730707481826</c:v>
                </c:pt>
                <c:pt idx="165">
                  <c:v>0.43815072126946575</c:v>
                </c:pt>
                <c:pt idx="166">
                  <c:v>0.46071300504502943</c:v>
                </c:pt>
                <c:pt idx="167">
                  <c:v>0.46560420254242274</c:v>
                </c:pt>
                <c:pt idx="168">
                  <c:v>0.46102858622208531</c:v>
                </c:pt>
                <c:pt idx="169">
                  <c:v>0.46244855990503453</c:v>
                </c:pt>
                <c:pt idx="170">
                  <c:v>0.4591352364477137</c:v>
                </c:pt>
                <c:pt idx="171">
                  <c:v>0.43909736998614801</c:v>
                </c:pt>
                <c:pt idx="172">
                  <c:v>0.4269483660789879</c:v>
                </c:pt>
                <c:pt idx="173">
                  <c:v>0.42868396337664993</c:v>
                </c:pt>
                <c:pt idx="174">
                  <c:v>0.42126837926474336</c:v>
                </c:pt>
                <c:pt idx="175">
                  <c:v>0.42821056466326191</c:v>
                </c:pt>
                <c:pt idx="176">
                  <c:v>0.44304167445095111</c:v>
                </c:pt>
                <c:pt idx="177">
                  <c:v>0.42915716037188645</c:v>
                </c:pt>
                <c:pt idx="178">
                  <c:v>0.4261593603122904</c:v>
                </c:pt>
                <c:pt idx="179">
                  <c:v>0.45187729205680194</c:v>
                </c:pt>
                <c:pt idx="180">
                  <c:v>0.46118614850255346</c:v>
                </c:pt>
                <c:pt idx="181">
                  <c:v>0.47712169851950748</c:v>
                </c:pt>
                <c:pt idx="182">
                  <c:v>0.4861150062687738</c:v>
                </c:pt>
                <c:pt idx="183">
                  <c:v>0.49289941849539209</c:v>
                </c:pt>
                <c:pt idx="184">
                  <c:v>0.49589716052773092</c:v>
                </c:pt>
                <c:pt idx="185">
                  <c:v>0.49589716052773092</c:v>
                </c:pt>
                <c:pt idx="186">
                  <c:v>0.50189271634712607</c:v>
                </c:pt>
                <c:pt idx="187">
                  <c:v>0.49652825594287742</c:v>
                </c:pt>
                <c:pt idx="188">
                  <c:v>0.48595707964854817</c:v>
                </c:pt>
                <c:pt idx="189">
                  <c:v>0.48879704081917241</c:v>
                </c:pt>
                <c:pt idx="190">
                  <c:v>0.47585924565474969</c:v>
                </c:pt>
                <c:pt idx="191">
                  <c:v>0.4734925577684177</c:v>
                </c:pt>
                <c:pt idx="192">
                  <c:v>0.49573934840560541</c:v>
                </c:pt>
                <c:pt idx="193">
                  <c:v>0.49589714890686243</c:v>
                </c:pt>
                <c:pt idx="194">
                  <c:v>0.49353049002757676</c:v>
                </c:pt>
                <c:pt idx="195">
                  <c:v>0.50189276724124099</c:v>
                </c:pt>
                <c:pt idx="196">
                  <c:v>0.50851941850886284</c:v>
                </c:pt>
                <c:pt idx="197">
                  <c:v>0.49274151220679485</c:v>
                </c:pt>
                <c:pt idx="198">
                  <c:v>0.47727924780090314</c:v>
                </c:pt>
                <c:pt idx="199">
                  <c:v>0.47049484285537746</c:v>
                </c:pt>
                <c:pt idx="200">
                  <c:v>0.45850369265931334</c:v>
                </c:pt>
                <c:pt idx="201">
                  <c:v>0.44288370151240919</c:v>
                </c:pt>
                <c:pt idx="202">
                  <c:v>0.42284579839602587</c:v>
                </c:pt>
                <c:pt idx="203">
                  <c:v>0.42111021109114244</c:v>
                </c:pt>
                <c:pt idx="204">
                  <c:v>0.40880353877411424</c:v>
                </c:pt>
                <c:pt idx="205">
                  <c:v>0.39933680163461394</c:v>
                </c:pt>
                <c:pt idx="206">
                  <c:v>0.39144790048171862</c:v>
                </c:pt>
                <c:pt idx="207">
                  <c:v>0.40154577704030436</c:v>
                </c:pt>
                <c:pt idx="208">
                  <c:v>0.40028354491350182</c:v>
                </c:pt>
                <c:pt idx="209">
                  <c:v>0.38829235680498964</c:v>
                </c:pt>
                <c:pt idx="210">
                  <c:v>0.37503902382075083</c:v>
                </c:pt>
                <c:pt idx="211">
                  <c:v>0.3605234243657871</c:v>
                </c:pt>
                <c:pt idx="212">
                  <c:v>0.36083892974789755</c:v>
                </c:pt>
                <c:pt idx="213">
                  <c:v>0.36162780807547246</c:v>
                </c:pt>
                <c:pt idx="214">
                  <c:v>0.35721000665217151</c:v>
                </c:pt>
                <c:pt idx="215">
                  <c:v>0.36557232038715837</c:v>
                </c:pt>
                <c:pt idx="216">
                  <c:v>0.37456570657476429</c:v>
                </c:pt>
                <c:pt idx="217">
                  <c:v>0.35642116433483606</c:v>
                </c:pt>
                <c:pt idx="218">
                  <c:v>0.35058339892777179</c:v>
                </c:pt>
                <c:pt idx="219">
                  <c:v>0.36257455363515212</c:v>
                </c:pt>
                <c:pt idx="220">
                  <c:v>0.3600501117596322</c:v>
                </c:pt>
                <c:pt idx="221">
                  <c:v>0.34032775307898344</c:v>
                </c:pt>
                <c:pt idx="222">
                  <c:v>0.31303211242030526</c:v>
                </c:pt>
                <c:pt idx="223">
                  <c:v>0.31066537203766753</c:v>
                </c:pt>
                <c:pt idx="224">
                  <c:v>0.32975652384676835</c:v>
                </c:pt>
                <c:pt idx="225">
                  <c:v>0.34206328749931769</c:v>
                </c:pt>
                <c:pt idx="226">
                  <c:v>0.32470772506537648</c:v>
                </c:pt>
                <c:pt idx="227">
                  <c:v>0.33212330643951993</c:v>
                </c:pt>
                <c:pt idx="228">
                  <c:v>0.36320560633634269</c:v>
                </c:pt>
                <c:pt idx="229">
                  <c:v>0.37077903140290491</c:v>
                </c:pt>
                <c:pt idx="230">
                  <c:v>0.34869002393507231</c:v>
                </c:pt>
                <c:pt idx="231">
                  <c:v>0.35736790015607767</c:v>
                </c:pt>
                <c:pt idx="232">
                  <c:v>0.36005019486357615</c:v>
                </c:pt>
                <c:pt idx="233">
                  <c:v>0.35089909712743661</c:v>
                </c:pt>
                <c:pt idx="234">
                  <c:v>0.35515915743022797</c:v>
                </c:pt>
                <c:pt idx="235">
                  <c:v>0.33480575101295185</c:v>
                </c:pt>
                <c:pt idx="236">
                  <c:v>0.3220256533498782</c:v>
                </c:pt>
                <c:pt idx="237">
                  <c:v>0.31666113765371517</c:v>
                </c:pt>
                <c:pt idx="238">
                  <c:v>0.31429443925878253</c:v>
                </c:pt>
                <c:pt idx="239">
                  <c:v>0.30766776669603968</c:v>
                </c:pt>
                <c:pt idx="240">
                  <c:v>0.29520320831066971</c:v>
                </c:pt>
                <c:pt idx="241">
                  <c:v>0.29962101693389664</c:v>
                </c:pt>
                <c:pt idx="242">
                  <c:v>0.32628560126253281</c:v>
                </c:pt>
                <c:pt idx="243">
                  <c:v>0.35500127607258825</c:v>
                </c:pt>
                <c:pt idx="244">
                  <c:v>0.34222117503692684</c:v>
                </c:pt>
                <c:pt idx="245">
                  <c:v>0.34016999263723546</c:v>
                </c:pt>
                <c:pt idx="246">
                  <c:v>0.35279224969588996</c:v>
                </c:pt>
                <c:pt idx="247">
                  <c:v>0.35121448809506961</c:v>
                </c:pt>
                <c:pt idx="248">
                  <c:v>0.35989225778051392</c:v>
                </c:pt>
                <c:pt idx="249">
                  <c:v>0.34159001183994908</c:v>
                </c:pt>
                <c:pt idx="250">
                  <c:v>0.32328777258042596</c:v>
                </c:pt>
                <c:pt idx="251">
                  <c:v>0.30845662788289907</c:v>
                </c:pt>
                <c:pt idx="252">
                  <c:v>0.32249885356767538</c:v>
                </c:pt>
                <c:pt idx="253">
                  <c:v>0.35610566543499567</c:v>
                </c:pt>
                <c:pt idx="254">
                  <c:v>0.37077899995613528</c:v>
                </c:pt>
                <c:pt idx="255">
                  <c:v>0.36904345666429084</c:v>
                </c:pt>
                <c:pt idx="256">
                  <c:v>0.38750350172960646</c:v>
                </c:pt>
                <c:pt idx="257">
                  <c:v>0.39428797760201384</c:v>
                </c:pt>
                <c:pt idx="258">
                  <c:v>0.39176347978976755</c:v>
                </c:pt>
                <c:pt idx="259">
                  <c:v>0.41148574253282444</c:v>
                </c:pt>
                <c:pt idx="260">
                  <c:v>0.40864569207027412</c:v>
                </c:pt>
                <c:pt idx="261">
                  <c:v>0.40785685048271469</c:v>
                </c:pt>
                <c:pt idx="262">
                  <c:v>0.41006577788112208</c:v>
                </c:pt>
                <c:pt idx="263">
                  <c:v>0.40201909651306567</c:v>
                </c:pt>
                <c:pt idx="264">
                  <c:v>0.4171658098222446</c:v>
                </c:pt>
                <c:pt idx="265">
                  <c:v>0.42884141377962703</c:v>
                </c:pt>
                <c:pt idx="266">
                  <c:v>0.43120814669741137</c:v>
                </c:pt>
                <c:pt idx="267">
                  <c:v>0.43957040965693484</c:v>
                </c:pt>
                <c:pt idx="268">
                  <c:v>0.41732372041721955</c:v>
                </c:pt>
                <c:pt idx="269">
                  <c:v>0.41574595565165096</c:v>
                </c:pt>
                <c:pt idx="270">
                  <c:v>0.42805261052034416</c:v>
                </c:pt>
                <c:pt idx="271">
                  <c:v>0.41038145910198232</c:v>
                </c:pt>
                <c:pt idx="272">
                  <c:v>0.40911916769608614</c:v>
                </c:pt>
                <c:pt idx="273">
                  <c:v>0.40485911862830726</c:v>
                </c:pt>
                <c:pt idx="274">
                  <c:v>0.38987011474801436</c:v>
                </c:pt>
                <c:pt idx="275">
                  <c:v>0.3964968764681216</c:v>
                </c:pt>
                <c:pt idx="276">
                  <c:v>0.40659466608248751</c:v>
                </c:pt>
                <c:pt idx="277">
                  <c:v>0.41290577503026649</c:v>
                </c:pt>
                <c:pt idx="278">
                  <c:v>0.40943468941274963</c:v>
                </c:pt>
                <c:pt idx="279">
                  <c:v>0.40959240515449502</c:v>
                </c:pt>
                <c:pt idx="280">
                  <c:v>0.41795467113883356</c:v>
                </c:pt>
                <c:pt idx="281">
                  <c:v>0.43878144755305359</c:v>
                </c:pt>
                <c:pt idx="282">
                  <c:v>0.43641479594997357</c:v>
                </c:pt>
                <c:pt idx="283">
                  <c:v>0.43531033661336771</c:v>
                </c:pt>
                <c:pt idx="284">
                  <c:v>0.44304149221050171</c:v>
                </c:pt>
                <c:pt idx="285">
                  <c:v>0.4357837150254289</c:v>
                </c:pt>
                <c:pt idx="286">
                  <c:v>0.41969030252045192</c:v>
                </c:pt>
                <c:pt idx="287">
                  <c:v>0.41432586074334821</c:v>
                </c:pt>
                <c:pt idx="288">
                  <c:v>0.41259034147962992</c:v>
                </c:pt>
                <c:pt idx="289">
                  <c:v>0.41527256802003132</c:v>
                </c:pt>
                <c:pt idx="290">
                  <c:v>0.43120825408142327</c:v>
                </c:pt>
                <c:pt idx="291">
                  <c:v>0.43483722573047223</c:v>
                </c:pt>
                <c:pt idx="292">
                  <c:v>0.43957061025443456</c:v>
                </c:pt>
                <c:pt idx="293">
                  <c:v>0.43057718078099216</c:v>
                </c:pt>
                <c:pt idx="294">
                  <c:v>0.40943482368394801</c:v>
                </c:pt>
                <c:pt idx="295">
                  <c:v>0.38213914511455527</c:v>
                </c:pt>
                <c:pt idx="296">
                  <c:v>0.38592579173042574</c:v>
                </c:pt>
                <c:pt idx="297">
                  <c:v>0.36983242143685202</c:v>
                </c:pt>
                <c:pt idx="298">
                  <c:v>0.37377685389437931</c:v>
                </c:pt>
                <c:pt idx="299">
                  <c:v>0.37740582283162682</c:v>
                </c:pt>
                <c:pt idx="300">
                  <c:v>0.38971253063688049</c:v>
                </c:pt>
                <c:pt idx="301">
                  <c:v>0.38529477347323904</c:v>
                </c:pt>
                <c:pt idx="302">
                  <c:v>0.38576812869733468</c:v>
                </c:pt>
                <c:pt idx="303">
                  <c:v>0.38987041808871736</c:v>
                </c:pt>
                <c:pt idx="304">
                  <c:v>0.40312380543448589</c:v>
                </c:pt>
                <c:pt idx="305">
                  <c:v>0.40659499341675032</c:v>
                </c:pt>
                <c:pt idx="306">
                  <c:v>0.41101282697207364</c:v>
                </c:pt>
                <c:pt idx="307">
                  <c:v>0.40107280601118633</c:v>
                </c:pt>
                <c:pt idx="308">
                  <c:v>0.39065947248778876</c:v>
                </c:pt>
                <c:pt idx="309">
                  <c:v>0.39996840793067467</c:v>
                </c:pt>
                <c:pt idx="310">
                  <c:v>0.411486228016402</c:v>
                </c:pt>
                <c:pt idx="311">
                  <c:v>0.42395078059876923</c:v>
                </c:pt>
                <c:pt idx="312">
                  <c:v>0.42205749564088513</c:v>
                </c:pt>
                <c:pt idx="313">
                  <c:v>0.41637751359179642</c:v>
                </c:pt>
                <c:pt idx="314">
                  <c:v>0.42300417742688712</c:v>
                </c:pt>
                <c:pt idx="315">
                  <c:v>0.43420649321284488</c:v>
                </c:pt>
                <c:pt idx="316">
                  <c:v>0.4607132107791061</c:v>
                </c:pt>
                <c:pt idx="317">
                  <c:v>0.47570217332019493</c:v>
                </c:pt>
                <c:pt idx="318">
                  <c:v>0.48232881392948923</c:v>
                </c:pt>
                <c:pt idx="319">
                  <c:v>0.49226886625705601</c:v>
                </c:pt>
                <c:pt idx="320">
                  <c:v>0.49810662206185352</c:v>
                </c:pt>
                <c:pt idx="321">
                  <c:v>0.51988010370690052</c:v>
                </c:pt>
                <c:pt idx="322">
                  <c:v>0.50788900962870498</c:v>
                </c:pt>
                <c:pt idx="323">
                  <c:v>0.53250243272177511</c:v>
                </c:pt>
                <c:pt idx="324">
                  <c:v>0.52429802769795586</c:v>
                </c:pt>
                <c:pt idx="325">
                  <c:v>0.53045131397616685</c:v>
                </c:pt>
                <c:pt idx="326">
                  <c:v>0.55127800154701734</c:v>
                </c:pt>
                <c:pt idx="327">
                  <c:v>0.55979808571491407</c:v>
                </c:pt>
                <c:pt idx="328">
                  <c:v>0.5500158120203531</c:v>
                </c:pt>
                <c:pt idx="329">
                  <c:v>0.54686028983024193</c:v>
                </c:pt>
                <c:pt idx="330">
                  <c:v>0.56532036584304723</c:v>
                </c:pt>
                <c:pt idx="331">
                  <c:v>0.57273591454419215</c:v>
                </c:pt>
                <c:pt idx="332">
                  <c:v>0.56311139984154757</c:v>
                </c:pt>
                <c:pt idx="333">
                  <c:v>0.55459134853443115</c:v>
                </c:pt>
                <c:pt idx="334">
                  <c:v>0.57952030902212481</c:v>
                </c:pt>
                <c:pt idx="335">
                  <c:v>0.59135375927325673</c:v>
                </c:pt>
                <c:pt idx="336">
                  <c:v>0.59151146243080066</c:v>
                </c:pt>
                <c:pt idx="337">
                  <c:v>0.59640265460828923</c:v>
                </c:pt>
                <c:pt idx="338">
                  <c:v>0.60792054012102237</c:v>
                </c:pt>
                <c:pt idx="339">
                  <c:v>0.58393824447306342</c:v>
                </c:pt>
                <c:pt idx="340">
                  <c:v>0.56926479897008941</c:v>
                </c:pt>
                <c:pt idx="341">
                  <c:v>0.5717892752521927</c:v>
                </c:pt>
                <c:pt idx="342">
                  <c:v>0.58520041006435441</c:v>
                </c:pt>
                <c:pt idx="343">
                  <c:v>0.58993381848880655</c:v>
                </c:pt>
                <c:pt idx="344">
                  <c:v>0.58172928300525872</c:v>
                </c:pt>
                <c:pt idx="345">
                  <c:v>0.57257818823843176</c:v>
                </c:pt>
                <c:pt idx="346">
                  <c:v>0.56279596561849465</c:v>
                </c:pt>
                <c:pt idx="347">
                  <c:v>0.57541819979400555</c:v>
                </c:pt>
                <c:pt idx="348">
                  <c:v>0.60003158849666716</c:v>
                </c:pt>
                <c:pt idx="349">
                  <c:v>0.61091836342795758</c:v>
                </c:pt>
                <c:pt idx="350">
                  <c:v>0.60318724401819401</c:v>
                </c:pt>
                <c:pt idx="351">
                  <c:v>0.6098140184913432</c:v>
                </c:pt>
                <c:pt idx="352">
                  <c:v>0.60444947425612261</c:v>
                </c:pt>
                <c:pt idx="353">
                  <c:v>0.57952050099481545</c:v>
                </c:pt>
                <c:pt idx="354">
                  <c:v>0.57320936888104068</c:v>
                </c:pt>
                <c:pt idx="355">
                  <c:v>0.57810047680889198</c:v>
                </c:pt>
                <c:pt idx="356">
                  <c:v>0.58662048347313567</c:v>
                </c:pt>
                <c:pt idx="357">
                  <c:v>0.5774693325106075</c:v>
                </c:pt>
                <c:pt idx="358">
                  <c:v>0.56074484490039689</c:v>
                </c:pt>
                <c:pt idx="359">
                  <c:v>0.56374256752399732</c:v>
                </c:pt>
                <c:pt idx="360">
                  <c:v>0.58078267028230623</c:v>
                </c:pt>
                <c:pt idx="361">
                  <c:v>0.58693602490464691</c:v>
                </c:pt>
                <c:pt idx="362">
                  <c:v>0.59261598632498536</c:v>
                </c:pt>
                <c:pt idx="363">
                  <c:v>0.60760489168028275</c:v>
                </c:pt>
                <c:pt idx="364">
                  <c:v>0.59135377459077598</c:v>
                </c:pt>
                <c:pt idx="365">
                  <c:v>0.57462928296133664</c:v>
                </c:pt>
                <c:pt idx="366">
                  <c:v>0.59230040262644201</c:v>
                </c:pt>
                <c:pt idx="367">
                  <c:v>0.5913537800370805</c:v>
                </c:pt>
                <c:pt idx="368">
                  <c:v>0.58488492692122973</c:v>
                </c:pt>
                <c:pt idx="369">
                  <c:v>0.58693608499365113</c:v>
                </c:pt>
                <c:pt idx="370">
                  <c:v>0.58898719988350523</c:v>
                </c:pt>
                <c:pt idx="371">
                  <c:v>0.61312725232285525</c:v>
                </c:pt>
                <c:pt idx="372">
                  <c:v>0.63174516050553975</c:v>
                </c:pt>
                <c:pt idx="373">
                  <c:v>0.62275179705341355</c:v>
                </c:pt>
                <c:pt idx="374">
                  <c:v>0.62275179705341355</c:v>
                </c:pt>
                <c:pt idx="375">
                  <c:v>0.61580950259043932</c:v>
                </c:pt>
                <c:pt idx="376">
                  <c:v>0.6094983122542712</c:v>
                </c:pt>
                <c:pt idx="377">
                  <c:v>0.62148939658022817</c:v>
                </c:pt>
                <c:pt idx="378">
                  <c:v>0.61312721361312428</c:v>
                </c:pt>
                <c:pt idx="379">
                  <c:v>0.61328497745461563</c:v>
                </c:pt>
                <c:pt idx="380">
                  <c:v>0.63316500424629552</c:v>
                </c:pt>
                <c:pt idx="381">
                  <c:v>0.63079838483864226</c:v>
                </c:pt>
                <c:pt idx="382">
                  <c:v>0.61265379584925062</c:v>
                </c:pt>
                <c:pt idx="383">
                  <c:v>0.5979804202261978</c:v>
                </c:pt>
                <c:pt idx="384">
                  <c:v>0.5833069650174707</c:v>
                </c:pt>
                <c:pt idx="385">
                  <c:v>0.58094023776616255</c:v>
                </c:pt>
                <c:pt idx="386">
                  <c:v>0.59435135380313286</c:v>
                </c:pt>
                <c:pt idx="387">
                  <c:v>0.58267575940409699</c:v>
                </c:pt>
                <c:pt idx="388">
                  <c:v>0.58835582443702239</c:v>
                </c:pt>
                <c:pt idx="389">
                  <c:v>0.60050484046697616</c:v>
                </c:pt>
                <c:pt idx="390">
                  <c:v>0.62306715720303907</c:v>
                </c:pt>
                <c:pt idx="391">
                  <c:v>0.6301672644822236</c:v>
                </c:pt>
                <c:pt idx="392">
                  <c:v>0.62480287306499194</c:v>
                </c:pt>
                <c:pt idx="393">
                  <c:v>0.61391620637459465</c:v>
                </c:pt>
                <c:pt idx="394">
                  <c:v>0.61612517348625961</c:v>
                </c:pt>
                <c:pt idx="395">
                  <c:v>0.60713176012084324</c:v>
                </c:pt>
                <c:pt idx="396">
                  <c:v>0.61139178427739549</c:v>
                </c:pt>
                <c:pt idx="397">
                  <c:v>0.61139178427739549</c:v>
                </c:pt>
                <c:pt idx="398">
                  <c:v>0.60366064877478953</c:v>
                </c:pt>
                <c:pt idx="399">
                  <c:v>0.5923006374709987</c:v>
                </c:pt>
                <c:pt idx="400">
                  <c:v>0.60018953174928491</c:v>
                </c:pt>
                <c:pt idx="401">
                  <c:v>0.59166948260643903</c:v>
                </c:pt>
                <c:pt idx="402">
                  <c:v>0.59608732042236157</c:v>
                </c:pt>
                <c:pt idx="403">
                  <c:v>0.60744731231673565</c:v>
                </c:pt>
                <c:pt idx="404">
                  <c:v>0.62669633313699724</c:v>
                </c:pt>
                <c:pt idx="405">
                  <c:v>0.6243296526419162</c:v>
                </c:pt>
                <c:pt idx="406">
                  <c:v>0.62148967467723715</c:v>
                </c:pt>
                <c:pt idx="407">
                  <c:v>0.61186516056422291</c:v>
                </c:pt>
                <c:pt idx="408">
                  <c:v>0.59892736366643806</c:v>
                </c:pt>
                <c:pt idx="409">
                  <c:v>0.59498296975300935</c:v>
                </c:pt>
                <c:pt idx="410">
                  <c:v>0.5976652526132431</c:v>
                </c:pt>
                <c:pt idx="411">
                  <c:v>0.59640309706367867</c:v>
                </c:pt>
                <c:pt idx="412">
                  <c:v>0.60934098632352129</c:v>
                </c:pt>
                <c:pt idx="413">
                  <c:v>0.59766537840184286</c:v>
                </c:pt>
                <c:pt idx="414">
                  <c:v>0.56894973972313734</c:v>
                </c:pt>
                <c:pt idx="415">
                  <c:v>0.56973860765227013</c:v>
                </c:pt>
                <c:pt idx="416">
                  <c:v>0.56737191275351284</c:v>
                </c:pt>
                <c:pt idx="417">
                  <c:v>0.56800309342277866</c:v>
                </c:pt>
                <c:pt idx="418">
                  <c:v>0.58062536152452271</c:v>
                </c:pt>
                <c:pt idx="419">
                  <c:v>0.57541862352112494</c:v>
                </c:pt>
                <c:pt idx="420">
                  <c:v>0.58125649477244479</c:v>
                </c:pt>
                <c:pt idx="421">
                  <c:v>0.57983652644013928</c:v>
                </c:pt>
                <c:pt idx="422">
                  <c:v>0.56437419240491171</c:v>
                </c:pt>
                <c:pt idx="423">
                  <c:v>0.55616967551542484</c:v>
                </c:pt>
                <c:pt idx="424">
                  <c:v>0.55885188956814336</c:v>
                </c:pt>
                <c:pt idx="425">
                  <c:v>0.55790519881560874</c:v>
                </c:pt>
                <c:pt idx="426">
                  <c:v>0.57084297832969288</c:v>
                </c:pt>
                <c:pt idx="427">
                  <c:v>0.59230085049797432</c:v>
                </c:pt>
                <c:pt idx="428">
                  <c:v>0.60855203220824161</c:v>
                </c:pt>
                <c:pt idx="429">
                  <c:v>0.60082084857583906</c:v>
                </c:pt>
                <c:pt idx="430">
                  <c:v>0.6094987383138839</c:v>
                </c:pt>
                <c:pt idx="431">
                  <c:v>0.63474324317471575</c:v>
                </c:pt>
                <c:pt idx="432">
                  <c:v>0.6371098609678596</c:v>
                </c:pt>
                <c:pt idx="433">
                  <c:v>0.64531440074708613</c:v>
                </c:pt>
                <c:pt idx="434">
                  <c:v>0.63253442113928315</c:v>
                </c:pt>
                <c:pt idx="435">
                  <c:v>0.62906332645305696</c:v>
                </c:pt>
                <c:pt idx="436">
                  <c:v>0.6251188754207162</c:v>
                </c:pt>
                <c:pt idx="437">
                  <c:v>0.63647894389556958</c:v>
                </c:pt>
                <c:pt idx="438">
                  <c:v>0.63190334876843757</c:v>
                </c:pt>
                <c:pt idx="439">
                  <c:v>0.63868782375060751</c:v>
                </c:pt>
                <c:pt idx="440">
                  <c:v>0.64531451344107271</c:v>
                </c:pt>
                <c:pt idx="441">
                  <c:v>0.63442779636853586</c:v>
                </c:pt>
                <c:pt idx="442">
                  <c:v>0.64263229702074653</c:v>
                </c:pt>
                <c:pt idx="443">
                  <c:v>0.63363888519455802</c:v>
                </c:pt>
                <c:pt idx="444">
                  <c:v>0.63821438098421091</c:v>
                </c:pt>
                <c:pt idx="445">
                  <c:v>0.64058110930041878</c:v>
                </c:pt>
                <c:pt idx="446">
                  <c:v>0.65635890594478297</c:v>
                </c:pt>
                <c:pt idx="447">
                  <c:v>0.67087457285292063</c:v>
                </c:pt>
                <c:pt idx="448">
                  <c:v>0.66724560036814129</c:v>
                </c:pt>
                <c:pt idx="449">
                  <c:v>0.67166346775999664</c:v>
                </c:pt>
                <c:pt idx="450">
                  <c:v>0.65983009640441703</c:v>
                </c:pt>
                <c:pt idx="451">
                  <c:v>0.65162555623788987</c:v>
                </c:pt>
                <c:pt idx="452">
                  <c:v>0.64547226006557001</c:v>
                </c:pt>
                <c:pt idx="453">
                  <c:v>0.63647893142818157</c:v>
                </c:pt>
                <c:pt idx="454">
                  <c:v>0.63805666076597145</c:v>
                </c:pt>
                <c:pt idx="455">
                  <c:v>0.63979218179805297</c:v>
                </c:pt>
                <c:pt idx="456">
                  <c:v>0.64184323385904607</c:v>
                </c:pt>
                <c:pt idx="457">
                  <c:v>0.64200101499381979</c:v>
                </c:pt>
                <c:pt idx="458">
                  <c:v>0.6326920186395153</c:v>
                </c:pt>
                <c:pt idx="459">
                  <c:v>0.62590753022526058</c:v>
                </c:pt>
                <c:pt idx="460">
                  <c:v>0.62401416090631323</c:v>
                </c:pt>
                <c:pt idx="461">
                  <c:v>0.63206082627077165</c:v>
                </c:pt>
                <c:pt idx="462">
                  <c:v>0.62811629845975769</c:v>
                </c:pt>
                <c:pt idx="463">
                  <c:v>0.64310522553826766</c:v>
                </c:pt>
                <c:pt idx="464">
                  <c:v>0.64768078065982415</c:v>
                </c:pt>
                <c:pt idx="465">
                  <c:v>0.63852956160403962</c:v>
                </c:pt>
                <c:pt idx="466">
                  <c:v>0.63758281922334481</c:v>
                </c:pt>
                <c:pt idx="467">
                  <c:v>0.63284938608437979</c:v>
                </c:pt>
                <c:pt idx="468">
                  <c:v>0.64736492727185424</c:v>
                </c:pt>
                <c:pt idx="469">
                  <c:v>0.64184263056265345</c:v>
                </c:pt>
                <c:pt idx="470">
                  <c:v>0.6443671277914067</c:v>
                </c:pt>
                <c:pt idx="471">
                  <c:v>0.64484054108749778</c:v>
                </c:pt>
                <c:pt idx="472">
                  <c:v>0.6476805227657394</c:v>
                </c:pt>
                <c:pt idx="473">
                  <c:v>0.65351825485789861</c:v>
                </c:pt>
                <c:pt idx="474">
                  <c:v>0.64973153270244866</c:v>
                </c:pt>
                <c:pt idx="475">
                  <c:v>0.63127153177096806</c:v>
                </c:pt>
                <c:pt idx="476">
                  <c:v>0.61517805934712833</c:v>
                </c:pt>
                <c:pt idx="477">
                  <c:v>0.60870910970163727</c:v>
                </c:pt>
                <c:pt idx="478">
                  <c:v>0.59782233167264254</c:v>
                </c:pt>
                <c:pt idx="479">
                  <c:v>0.60981350892514619</c:v>
                </c:pt>
                <c:pt idx="480">
                  <c:v>0.59861129966058879</c:v>
                </c:pt>
                <c:pt idx="481">
                  <c:v>0.60113582662501264</c:v>
                </c:pt>
                <c:pt idx="482">
                  <c:v>0.61044483032101038</c:v>
                </c:pt>
                <c:pt idx="483">
                  <c:v>0.62369814709662008</c:v>
                </c:pt>
                <c:pt idx="484">
                  <c:v>0.64184264915079536</c:v>
                </c:pt>
                <c:pt idx="485">
                  <c:v>0.63963371405062786</c:v>
                </c:pt>
                <c:pt idx="486">
                  <c:v>0.64562936265279691</c:v>
                </c:pt>
                <c:pt idx="487">
                  <c:v>0.6571471225620038</c:v>
                </c:pt>
                <c:pt idx="488">
                  <c:v>0.65572711319268029</c:v>
                </c:pt>
                <c:pt idx="489">
                  <c:v>0.64720707261361343</c:v>
                </c:pt>
                <c:pt idx="490">
                  <c:v>0.65115147466969381</c:v>
                </c:pt>
                <c:pt idx="491">
                  <c:v>0.64547151359683008</c:v>
                </c:pt>
                <c:pt idx="492">
                  <c:v>0.639949311197199</c:v>
                </c:pt>
                <c:pt idx="493">
                  <c:v>0.64484046001784479</c:v>
                </c:pt>
                <c:pt idx="494">
                  <c:v>0.66203825393160742</c:v>
                </c:pt>
                <c:pt idx="495">
                  <c:v>0.67671172486026787</c:v>
                </c:pt>
                <c:pt idx="496">
                  <c:v>0.6775006177268148</c:v>
                </c:pt>
                <c:pt idx="497">
                  <c:v>0.70132515250001815</c:v>
                </c:pt>
                <c:pt idx="498">
                  <c:v>0.69548739550424488</c:v>
                </c:pt>
                <c:pt idx="499">
                  <c:v>0.68696740179309645</c:v>
                </c:pt>
                <c:pt idx="500">
                  <c:v>0.68507411827806397</c:v>
                </c:pt>
                <c:pt idx="501">
                  <c:v>0.69248962395037017</c:v>
                </c:pt>
                <c:pt idx="502">
                  <c:v>0.67118947278399244</c:v>
                </c:pt>
                <c:pt idx="503">
                  <c:v>0.66251165432761439</c:v>
                </c:pt>
                <c:pt idx="504">
                  <c:v>0.66046061369967046</c:v>
                </c:pt>
                <c:pt idx="505">
                  <c:v>0.6435783785480631</c:v>
                </c:pt>
                <c:pt idx="506">
                  <c:v>0.6435783785480631</c:v>
                </c:pt>
                <c:pt idx="507">
                  <c:v>0.6435783785480631</c:v>
                </c:pt>
                <c:pt idx="508">
                  <c:v>0.6435783785480631</c:v>
                </c:pt>
              </c:numCache>
            </c:numRef>
          </c:val>
          <c:smooth val="0"/>
          <c:extLst>
            <c:ext xmlns:c16="http://schemas.microsoft.com/office/drawing/2014/chart" uri="{C3380CC4-5D6E-409C-BE32-E72D297353CC}">
              <c16:uniqueId val="{00000001-FEDF-4824-BFB3-214DAB16BA7B}"/>
            </c:ext>
          </c:extLst>
        </c:ser>
        <c:ser>
          <c:idx val="5"/>
          <c:order val="5"/>
          <c:tx>
            <c:strRef>
              <c:f>Chart!$G$4</c:f>
              <c:strCache>
                <c:ptCount val="1"/>
                <c:pt idx="0">
                  <c:v>Aug '82</c:v>
                </c:pt>
              </c:strCache>
            </c:strRef>
          </c:tx>
          <c:spPr>
            <a:ln w="15875" cap="rnd">
              <a:solidFill>
                <a:schemeClr val="accent6"/>
              </a:solidFill>
              <a:round/>
            </a:ln>
            <a:effectLst/>
          </c:spPr>
          <c:marker>
            <c:symbol val="none"/>
          </c:marker>
          <c:cat>
            <c:numRef>
              <c:f>Chart!$A$5:$A$513</c:f>
              <c:numCache>
                <c:formatCode>General</c:formatCode>
                <c:ptCount val="50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pt idx="100">
                  <c:v>101</c:v>
                </c:pt>
                <c:pt idx="101">
                  <c:v>102</c:v>
                </c:pt>
                <c:pt idx="102">
                  <c:v>103</c:v>
                </c:pt>
                <c:pt idx="103">
                  <c:v>104</c:v>
                </c:pt>
                <c:pt idx="104">
                  <c:v>105</c:v>
                </c:pt>
                <c:pt idx="105">
                  <c:v>106</c:v>
                </c:pt>
                <c:pt idx="106">
                  <c:v>107</c:v>
                </c:pt>
                <c:pt idx="107">
                  <c:v>108</c:v>
                </c:pt>
                <c:pt idx="108">
                  <c:v>109</c:v>
                </c:pt>
                <c:pt idx="109">
                  <c:v>110</c:v>
                </c:pt>
                <c:pt idx="110">
                  <c:v>111</c:v>
                </c:pt>
                <c:pt idx="111">
                  <c:v>112</c:v>
                </c:pt>
                <c:pt idx="112">
                  <c:v>113</c:v>
                </c:pt>
                <c:pt idx="113">
                  <c:v>114</c:v>
                </c:pt>
                <c:pt idx="114">
                  <c:v>115</c:v>
                </c:pt>
                <c:pt idx="115">
                  <c:v>116</c:v>
                </c:pt>
                <c:pt idx="116">
                  <c:v>117</c:v>
                </c:pt>
                <c:pt idx="117">
                  <c:v>118</c:v>
                </c:pt>
                <c:pt idx="118">
                  <c:v>119</c:v>
                </c:pt>
                <c:pt idx="119">
                  <c:v>120</c:v>
                </c:pt>
                <c:pt idx="120">
                  <c:v>121</c:v>
                </c:pt>
                <c:pt idx="121">
                  <c:v>122</c:v>
                </c:pt>
                <c:pt idx="122">
                  <c:v>123</c:v>
                </c:pt>
                <c:pt idx="123">
                  <c:v>124</c:v>
                </c:pt>
                <c:pt idx="124">
                  <c:v>125</c:v>
                </c:pt>
                <c:pt idx="125">
                  <c:v>126</c:v>
                </c:pt>
                <c:pt idx="126">
                  <c:v>127</c:v>
                </c:pt>
                <c:pt idx="127">
                  <c:v>128</c:v>
                </c:pt>
                <c:pt idx="128">
                  <c:v>129</c:v>
                </c:pt>
                <c:pt idx="129">
                  <c:v>130</c:v>
                </c:pt>
                <c:pt idx="130">
                  <c:v>131</c:v>
                </c:pt>
                <c:pt idx="131">
                  <c:v>132</c:v>
                </c:pt>
                <c:pt idx="132">
                  <c:v>133</c:v>
                </c:pt>
                <c:pt idx="133">
                  <c:v>134</c:v>
                </c:pt>
                <c:pt idx="134">
                  <c:v>135</c:v>
                </c:pt>
                <c:pt idx="135">
                  <c:v>136</c:v>
                </c:pt>
                <c:pt idx="136">
                  <c:v>137</c:v>
                </c:pt>
                <c:pt idx="137">
                  <c:v>138</c:v>
                </c:pt>
                <c:pt idx="138">
                  <c:v>139</c:v>
                </c:pt>
                <c:pt idx="139">
                  <c:v>140</c:v>
                </c:pt>
                <c:pt idx="140">
                  <c:v>141</c:v>
                </c:pt>
                <c:pt idx="141">
                  <c:v>142</c:v>
                </c:pt>
                <c:pt idx="142">
                  <c:v>143</c:v>
                </c:pt>
                <c:pt idx="143">
                  <c:v>144</c:v>
                </c:pt>
                <c:pt idx="144">
                  <c:v>145</c:v>
                </c:pt>
                <c:pt idx="145">
                  <c:v>146</c:v>
                </c:pt>
                <c:pt idx="146">
                  <c:v>147</c:v>
                </c:pt>
                <c:pt idx="147">
                  <c:v>148</c:v>
                </c:pt>
                <c:pt idx="148">
                  <c:v>149</c:v>
                </c:pt>
                <c:pt idx="149">
                  <c:v>150</c:v>
                </c:pt>
                <c:pt idx="150">
                  <c:v>151</c:v>
                </c:pt>
                <c:pt idx="151">
                  <c:v>152</c:v>
                </c:pt>
                <c:pt idx="152">
                  <c:v>153</c:v>
                </c:pt>
                <c:pt idx="153">
                  <c:v>154</c:v>
                </c:pt>
                <c:pt idx="154">
                  <c:v>155</c:v>
                </c:pt>
                <c:pt idx="155">
                  <c:v>156</c:v>
                </c:pt>
                <c:pt idx="156">
                  <c:v>157</c:v>
                </c:pt>
                <c:pt idx="157">
                  <c:v>158</c:v>
                </c:pt>
                <c:pt idx="158">
                  <c:v>159</c:v>
                </c:pt>
                <c:pt idx="159">
                  <c:v>160</c:v>
                </c:pt>
                <c:pt idx="160">
                  <c:v>161</c:v>
                </c:pt>
                <c:pt idx="161">
                  <c:v>162</c:v>
                </c:pt>
                <c:pt idx="162">
                  <c:v>163</c:v>
                </c:pt>
                <c:pt idx="163">
                  <c:v>164</c:v>
                </c:pt>
                <c:pt idx="164">
                  <c:v>165</c:v>
                </c:pt>
                <c:pt idx="165">
                  <c:v>166</c:v>
                </c:pt>
                <c:pt idx="166">
                  <c:v>167</c:v>
                </c:pt>
                <c:pt idx="167">
                  <c:v>168</c:v>
                </c:pt>
                <c:pt idx="168">
                  <c:v>169</c:v>
                </c:pt>
                <c:pt idx="169">
                  <c:v>170</c:v>
                </c:pt>
                <c:pt idx="170">
                  <c:v>171</c:v>
                </c:pt>
                <c:pt idx="171">
                  <c:v>172</c:v>
                </c:pt>
                <c:pt idx="172">
                  <c:v>173</c:v>
                </c:pt>
                <c:pt idx="173">
                  <c:v>174</c:v>
                </c:pt>
                <c:pt idx="174">
                  <c:v>175</c:v>
                </c:pt>
                <c:pt idx="175">
                  <c:v>176</c:v>
                </c:pt>
                <c:pt idx="176">
                  <c:v>177</c:v>
                </c:pt>
                <c:pt idx="177">
                  <c:v>178</c:v>
                </c:pt>
                <c:pt idx="178">
                  <c:v>179</c:v>
                </c:pt>
                <c:pt idx="179">
                  <c:v>180</c:v>
                </c:pt>
                <c:pt idx="180">
                  <c:v>181</c:v>
                </c:pt>
                <c:pt idx="181">
                  <c:v>182</c:v>
                </c:pt>
                <c:pt idx="182">
                  <c:v>183</c:v>
                </c:pt>
                <c:pt idx="183">
                  <c:v>184</c:v>
                </c:pt>
                <c:pt idx="184">
                  <c:v>185</c:v>
                </c:pt>
                <c:pt idx="185">
                  <c:v>186</c:v>
                </c:pt>
                <c:pt idx="186">
                  <c:v>187</c:v>
                </c:pt>
                <c:pt idx="187">
                  <c:v>188</c:v>
                </c:pt>
                <c:pt idx="188">
                  <c:v>189</c:v>
                </c:pt>
                <c:pt idx="189">
                  <c:v>190</c:v>
                </c:pt>
                <c:pt idx="190">
                  <c:v>191</c:v>
                </c:pt>
                <c:pt idx="191">
                  <c:v>192</c:v>
                </c:pt>
                <c:pt idx="192">
                  <c:v>193</c:v>
                </c:pt>
                <c:pt idx="193">
                  <c:v>194</c:v>
                </c:pt>
                <c:pt idx="194">
                  <c:v>195</c:v>
                </c:pt>
                <c:pt idx="195">
                  <c:v>196</c:v>
                </c:pt>
                <c:pt idx="196">
                  <c:v>197</c:v>
                </c:pt>
                <c:pt idx="197">
                  <c:v>198</c:v>
                </c:pt>
                <c:pt idx="198">
                  <c:v>199</c:v>
                </c:pt>
                <c:pt idx="199">
                  <c:v>200</c:v>
                </c:pt>
                <c:pt idx="200">
                  <c:v>201</c:v>
                </c:pt>
                <c:pt idx="201">
                  <c:v>202</c:v>
                </c:pt>
                <c:pt idx="202">
                  <c:v>203</c:v>
                </c:pt>
                <c:pt idx="203">
                  <c:v>204</c:v>
                </c:pt>
                <c:pt idx="204">
                  <c:v>205</c:v>
                </c:pt>
                <c:pt idx="205">
                  <c:v>206</c:v>
                </c:pt>
                <c:pt idx="206">
                  <c:v>207</c:v>
                </c:pt>
                <c:pt idx="207">
                  <c:v>208</c:v>
                </c:pt>
                <c:pt idx="208">
                  <c:v>209</c:v>
                </c:pt>
                <c:pt idx="209">
                  <c:v>210</c:v>
                </c:pt>
                <c:pt idx="210">
                  <c:v>211</c:v>
                </c:pt>
                <c:pt idx="211">
                  <c:v>212</c:v>
                </c:pt>
                <c:pt idx="212">
                  <c:v>213</c:v>
                </c:pt>
                <c:pt idx="213">
                  <c:v>214</c:v>
                </c:pt>
                <c:pt idx="214">
                  <c:v>215</c:v>
                </c:pt>
                <c:pt idx="215">
                  <c:v>216</c:v>
                </c:pt>
                <c:pt idx="216">
                  <c:v>217</c:v>
                </c:pt>
                <c:pt idx="217">
                  <c:v>218</c:v>
                </c:pt>
                <c:pt idx="218">
                  <c:v>219</c:v>
                </c:pt>
                <c:pt idx="219">
                  <c:v>220</c:v>
                </c:pt>
                <c:pt idx="220">
                  <c:v>221</c:v>
                </c:pt>
                <c:pt idx="221">
                  <c:v>222</c:v>
                </c:pt>
                <c:pt idx="222">
                  <c:v>223</c:v>
                </c:pt>
                <c:pt idx="223">
                  <c:v>224</c:v>
                </c:pt>
                <c:pt idx="224">
                  <c:v>225</c:v>
                </c:pt>
                <c:pt idx="225">
                  <c:v>226</c:v>
                </c:pt>
                <c:pt idx="226">
                  <c:v>227</c:v>
                </c:pt>
                <c:pt idx="227">
                  <c:v>228</c:v>
                </c:pt>
                <c:pt idx="228">
                  <c:v>229</c:v>
                </c:pt>
                <c:pt idx="229">
                  <c:v>230</c:v>
                </c:pt>
                <c:pt idx="230">
                  <c:v>231</c:v>
                </c:pt>
                <c:pt idx="231">
                  <c:v>232</c:v>
                </c:pt>
                <c:pt idx="232">
                  <c:v>233</c:v>
                </c:pt>
                <c:pt idx="233">
                  <c:v>234</c:v>
                </c:pt>
                <c:pt idx="234">
                  <c:v>235</c:v>
                </c:pt>
                <c:pt idx="235">
                  <c:v>236</c:v>
                </c:pt>
                <c:pt idx="236">
                  <c:v>237</c:v>
                </c:pt>
                <c:pt idx="237">
                  <c:v>238</c:v>
                </c:pt>
                <c:pt idx="238">
                  <c:v>239</c:v>
                </c:pt>
                <c:pt idx="239">
                  <c:v>240</c:v>
                </c:pt>
                <c:pt idx="240">
                  <c:v>241</c:v>
                </c:pt>
                <c:pt idx="241">
                  <c:v>242</c:v>
                </c:pt>
                <c:pt idx="242">
                  <c:v>243</c:v>
                </c:pt>
                <c:pt idx="243">
                  <c:v>244</c:v>
                </c:pt>
                <c:pt idx="244">
                  <c:v>245</c:v>
                </c:pt>
                <c:pt idx="245">
                  <c:v>246</c:v>
                </c:pt>
                <c:pt idx="246">
                  <c:v>247</c:v>
                </c:pt>
                <c:pt idx="247">
                  <c:v>248</c:v>
                </c:pt>
                <c:pt idx="248">
                  <c:v>249</c:v>
                </c:pt>
                <c:pt idx="249">
                  <c:v>250</c:v>
                </c:pt>
                <c:pt idx="250">
                  <c:v>251</c:v>
                </c:pt>
                <c:pt idx="251">
                  <c:v>252</c:v>
                </c:pt>
                <c:pt idx="252">
                  <c:v>253</c:v>
                </c:pt>
                <c:pt idx="253">
                  <c:v>254</c:v>
                </c:pt>
                <c:pt idx="254">
                  <c:v>255</c:v>
                </c:pt>
                <c:pt idx="255">
                  <c:v>256</c:v>
                </c:pt>
                <c:pt idx="256">
                  <c:v>257</c:v>
                </c:pt>
                <c:pt idx="257">
                  <c:v>258</c:v>
                </c:pt>
                <c:pt idx="258">
                  <c:v>259</c:v>
                </c:pt>
                <c:pt idx="259">
                  <c:v>260</c:v>
                </c:pt>
                <c:pt idx="260">
                  <c:v>261</c:v>
                </c:pt>
                <c:pt idx="261">
                  <c:v>262</c:v>
                </c:pt>
                <c:pt idx="262">
                  <c:v>263</c:v>
                </c:pt>
                <c:pt idx="263">
                  <c:v>264</c:v>
                </c:pt>
                <c:pt idx="264">
                  <c:v>265</c:v>
                </c:pt>
                <c:pt idx="265">
                  <c:v>266</c:v>
                </c:pt>
                <c:pt idx="266">
                  <c:v>267</c:v>
                </c:pt>
                <c:pt idx="267">
                  <c:v>268</c:v>
                </c:pt>
                <c:pt idx="268">
                  <c:v>269</c:v>
                </c:pt>
                <c:pt idx="269">
                  <c:v>270</c:v>
                </c:pt>
                <c:pt idx="270">
                  <c:v>271</c:v>
                </c:pt>
                <c:pt idx="271">
                  <c:v>272</c:v>
                </c:pt>
                <c:pt idx="272">
                  <c:v>273</c:v>
                </c:pt>
                <c:pt idx="273">
                  <c:v>274</c:v>
                </c:pt>
                <c:pt idx="274">
                  <c:v>275</c:v>
                </c:pt>
                <c:pt idx="275">
                  <c:v>276</c:v>
                </c:pt>
                <c:pt idx="276">
                  <c:v>277</c:v>
                </c:pt>
                <c:pt idx="277">
                  <c:v>278</c:v>
                </c:pt>
                <c:pt idx="278">
                  <c:v>279</c:v>
                </c:pt>
                <c:pt idx="279">
                  <c:v>280</c:v>
                </c:pt>
                <c:pt idx="280">
                  <c:v>281</c:v>
                </c:pt>
                <c:pt idx="281">
                  <c:v>282</c:v>
                </c:pt>
                <c:pt idx="282">
                  <c:v>283</c:v>
                </c:pt>
                <c:pt idx="283">
                  <c:v>284</c:v>
                </c:pt>
                <c:pt idx="284">
                  <c:v>285</c:v>
                </c:pt>
                <c:pt idx="285">
                  <c:v>286</c:v>
                </c:pt>
                <c:pt idx="286">
                  <c:v>287</c:v>
                </c:pt>
                <c:pt idx="287">
                  <c:v>288</c:v>
                </c:pt>
                <c:pt idx="288">
                  <c:v>289</c:v>
                </c:pt>
                <c:pt idx="289">
                  <c:v>290</c:v>
                </c:pt>
                <c:pt idx="290">
                  <c:v>291</c:v>
                </c:pt>
                <c:pt idx="291">
                  <c:v>292</c:v>
                </c:pt>
                <c:pt idx="292">
                  <c:v>293</c:v>
                </c:pt>
                <c:pt idx="293">
                  <c:v>294</c:v>
                </c:pt>
                <c:pt idx="294">
                  <c:v>295</c:v>
                </c:pt>
                <c:pt idx="295">
                  <c:v>296</c:v>
                </c:pt>
                <c:pt idx="296">
                  <c:v>297</c:v>
                </c:pt>
                <c:pt idx="297">
                  <c:v>298</c:v>
                </c:pt>
                <c:pt idx="298">
                  <c:v>299</c:v>
                </c:pt>
                <c:pt idx="299">
                  <c:v>300</c:v>
                </c:pt>
                <c:pt idx="300">
                  <c:v>301</c:v>
                </c:pt>
                <c:pt idx="301">
                  <c:v>302</c:v>
                </c:pt>
                <c:pt idx="302">
                  <c:v>303</c:v>
                </c:pt>
                <c:pt idx="303">
                  <c:v>304</c:v>
                </c:pt>
                <c:pt idx="304">
                  <c:v>305</c:v>
                </c:pt>
                <c:pt idx="305">
                  <c:v>306</c:v>
                </c:pt>
                <c:pt idx="306">
                  <c:v>307</c:v>
                </c:pt>
                <c:pt idx="307">
                  <c:v>308</c:v>
                </c:pt>
                <c:pt idx="308">
                  <c:v>309</c:v>
                </c:pt>
                <c:pt idx="309">
                  <c:v>310</c:v>
                </c:pt>
                <c:pt idx="310">
                  <c:v>311</c:v>
                </c:pt>
                <c:pt idx="311">
                  <c:v>312</c:v>
                </c:pt>
                <c:pt idx="312">
                  <c:v>313</c:v>
                </c:pt>
                <c:pt idx="313">
                  <c:v>314</c:v>
                </c:pt>
                <c:pt idx="314">
                  <c:v>315</c:v>
                </c:pt>
                <c:pt idx="315">
                  <c:v>316</c:v>
                </c:pt>
                <c:pt idx="316">
                  <c:v>317</c:v>
                </c:pt>
                <c:pt idx="317">
                  <c:v>318</c:v>
                </c:pt>
                <c:pt idx="318">
                  <c:v>319</c:v>
                </c:pt>
                <c:pt idx="319">
                  <c:v>320</c:v>
                </c:pt>
                <c:pt idx="320">
                  <c:v>321</c:v>
                </c:pt>
                <c:pt idx="321">
                  <c:v>322</c:v>
                </c:pt>
                <c:pt idx="322">
                  <c:v>323</c:v>
                </c:pt>
                <c:pt idx="323">
                  <c:v>324</c:v>
                </c:pt>
                <c:pt idx="324">
                  <c:v>325</c:v>
                </c:pt>
                <c:pt idx="325">
                  <c:v>326</c:v>
                </c:pt>
                <c:pt idx="326">
                  <c:v>327</c:v>
                </c:pt>
                <c:pt idx="327">
                  <c:v>328</c:v>
                </c:pt>
                <c:pt idx="328">
                  <c:v>329</c:v>
                </c:pt>
                <c:pt idx="329">
                  <c:v>330</c:v>
                </c:pt>
                <c:pt idx="330">
                  <c:v>331</c:v>
                </c:pt>
                <c:pt idx="331">
                  <c:v>332</c:v>
                </c:pt>
                <c:pt idx="332">
                  <c:v>333</c:v>
                </c:pt>
                <c:pt idx="333">
                  <c:v>334</c:v>
                </c:pt>
                <c:pt idx="334">
                  <c:v>335</c:v>
                </c:pt>
                <c:pt idx="335">
                  <c:v>336</c:v>
                </c:pt>
                <c:pt idx="336">
                  <c:v>337</c:v>
                </c:pt>
                <c:pt idx="337">
                  <c:v>338</c:v>
                </c:pt>
                <c:pt idx="338">
                  <c:v>339</c:v>
                </c:pt>
                <c:pt idx="339">
                  <c:v>340</c:v>
                </c:pt>
                <c:pt idx="340">
                  <c:v>341</c:v>
                </c:pt>
                <c:pt idx="341">
                  <c:v>342</c:v>
                </c:pt>
                <c:pt idx="342">
                  <c:v>343</c:v>
                </c:pt>
                <c:pt idx="343">
                  <c:v>344</c:v>
                </c:pt>
                <c:pt idx="344">
                  <c:v>345</c:v>
                </c:pt>
                <c:pt idx="345">
                  <c:v>346</c:v>
                </c:pt>
                <c:pt idx="346">
                  <c:v>347</c:v>
                </c:pt>
                <c:pt idx="347">
                  <c:v>348</c:v>
                </c:pt>
                <c:pt idx="348">
                  <c:v>349</c:v>
                </c:pt>
                <c:pt idx="349">
                  <c:v>350</c:v>
                </c:pt>
                <c:pt idx="350">
                  <c:v>351</c:v>
                </c:pt>
                <c:pt idx="351">
                  <c:v>352</c:v>
                </c:pt>
                <c:pt idx="352">
                  <c:v>353</c:v>
                </c:pt>
                <c:pt idx="353">
                  <c:v>354</c:v>
                </c:pt>
                <c:pt idx="354">
                  <c:v>355</c:v>
                </c:pt>
                <c:pt idx="355">
                  <c:v>356</c:v>
                </c:pt>
                <c:pt idx="356">
                  <c:v>357</c:v>
                </c:pt>
                <c:pt idx="357">
                  <c:v>358</c:v>
                </c:pt>
                <c:pt idx="358">
                  <c:v>359</c:v>
                </c:pt>
                <c:pt idx="359">
                  <c:v>360</c:v>
                </c:pt>
                <c:pt idx="360">
                  <c:v>361</c:v>
                </c:pt>
                <c:pt idx="361">
                  <c:v>362</c:v>
                </c:pt>
                <c:pt idx="362">
                  <c:v>363</c:v>
                </c:pt>
                <c:pt idx="363">
                  <c:v>364</c:v>
                </c:pt>
                <c:pt idx="364">
                  <c:v>365</c:v>
                </c:pt>
                <c:pt idx="365">
                  <c:v>366</c:v>
                </c:pt>
                <c:pt idx="366">
                  <c:v>367</c:v>
                </c:pt>
                <c:pt idx="367">
                  <c:v>368</c:v>
                </c:pt>
                <c:pt idx="368">
                  <c:v>369</c:v>
                </c:pt>
                <c:pt idx="369">
                  <c:v>370</c:v>
                </c:pt>
                <c:pt idx="370">
                  <c:v>371</c:v>
                </c:pt>
                <c:pt idx="371">
                  <c:v>372</c:v>
                </c:pt>
                <c:pt idx="372">
                  <c:v>373</c:v>
                </c:pt>
                <c:pt idx="373">
                  <c:v>374</c:v>
                </c:pt>
                <c:pt idx="374">
                  <c:v>375</c:v>
                </c:pt>
                <c:pt idx="375">
                  <c:v>376</c:v>
                </c:pt>
                <c:pt idx="376">
                  <c:v>377</c:v>
                </c:pt>
                <c:pt idx="377">
                  <c:v>378</c:v>
                </c:pt>
                <c:pt idx="378">
                  <c:v>379</c:v>
                </c:pt>
                <c:pt idx="379">
                  <c:v>380</c:v>
                </c:pt>
                <c:pt idx="380">
                  <c:v>381</c:v>
                </c:pt>
                <c:pt idx="381">
                  <c:v>382</c:v>
                </c:pt>
                <c:pt idx="382">
                  <c:v>383</c:v>
                </c:pt>
                <c:pt idx="383">
                  <c:v>384</c:v>
                </c:pt>
                <c:pt idx="384">
                  <c:v>385</c:v>
                </c:pt>
                <c:pt idx="385">
                  <c:v>386</c:v>
                </c:pt>
                <c:pt idx="386">
                  <c:v>387</c:v>
                </c:pt>
                <c:pt idx="387">
                  <c:v>388</c:v>
                </c:pt>
                <c:pt idx="388">
                  <c:v>389</c:v>
                </c:pt>
                <c:pt idx="389">
                  <c:v>390</c:v>
                </c:pt>
                <c:pt idx="390">
                  <c:v>391</c:v>
                </c:pt>
                <c:pt idx="391">
                  <c:v>392</c:v>
                </c:pt>
                <c:pt idx="392">
                  <c:v>393</c:v>
                </c:pt>
                <c:pt idx="393">
                  <c:v>394</c:v>
                </c:pt>
                <c:pt idx="394">
                  <c:v>395</c:v>
                </c:pt>
                <c:pt idx="395">
                  <c:v>396</c:v>
                </c:pt>
                <c:pt idx="396">
                  <c:v>397</c:v>
                </c:pt>
                <c:pt idx="397">
                  <c:v>398</c:v>
                </c:pt>
                <c:pt idx="398">
                  <c:v>399</c:v>
                </c:pt>
                <c:pt idx="399">
                  <c:v>400</c:v>
                </c:pt>
                <c:pt idx="400">
                  <c:v>401</c:v>
                </c:pt>
                <c:pt idx="401">
                  <c:v>402</c:v>
                </c:pt>
                <c:pt idx="402">
                  <c:v>403</c:v>
                </c:pt>
                <c:pt idx="403">
                  <c:v>404</c:v>
                </c:pt>
                <c:pt idx="404">
                  <c:v>405</c:v>
                </c:pt>
                <c:pt idx="405">
                  <c:v>406</c:v>
                </c:pt>
                <c:pt idx="406">
                  <c:v>407</c:v>
                </c:pt>
                <c:pt idx="407">
                  <c:v>408</c:v>
                </c:pt>
                <c:pt idx="408">
                  <c:v>409</c:v>
                </c:pt>
                <c:pt idx="409">
                  <c:v>410</c:v>
                </c:pt>
                <c:pt idx="410">
                  <c:v>411</c:v>
                </c:pt>
                <c:pt idx="411">
                  <c:v>412</c:v>
                </c:pt>
                <c:pt idx="412">
                  <c:v>413</c:v>
                </c:pt>
                <c:pt idx="413">
                  <c:v>414</c:v>
                </c:pt>
                <c:pt idx="414">
                  <c:v>415</c:v>
                </c:pt>
                <c:pt idx="415">
                  <c:v>416</c:v>
                </c:pt>
                <c:pt idx="416">
                  <c:v>417</c:v>
                </c:pt>
                <c:pt idx="417">
                  <c:v>418</c:v>
                </c:pt>
                <c:pt idx="418">
                  <c:v>419</c:v>
                </c:pt>
                <c:pt idx="419">
                  <c:v>420</c:v>
                </c:pt>
                <c:pt idx="420">
                  <c:v>421</c:v>
                </c:pt>
                <c:pt idx="421">
                  <c:v>422</c:v>
                </c:pt>
                <c:pt idx="422">
                  <c:v>423</c:v>
                </c:pt>
                <c:pt idx="423">
                  <c:v>424</c:v>
                </c:pt>
                <c:pt idx="424">
                  <c:v>425</c:v>
                </c:pt>
                <c:pt idx="425">
                  <c:v>426</c:v>
                </c:pt>
                <c:pt idx="426">
                  <c:v>427</c:v>
                </c:pt>
                <c:pt idx="427">
                  <c:v>428</c:v>
                </c:pt>
                <c:pt idx="428">
                  <c:v>429</c:v>
                </c:pt>
                <c:pt idx="429">
                  <c:v>430</c:v>
                </c:pt>
                <c:pt idx="430">
                  <c:v>431</c:v>
                </c:pt>
                <c:pt idx="431">
                  <c:v>432</c:v>
                </c:pt>
                <c:pt idx="432">
                  <c:v>433</c:v>
                </c:pt>
                <c:pt idx="433">
                  <c:v>434</c:v>
                </c:pt>
                <c:pt idx="434">
                  <c:v>435</c:v>
                </c:pt>
                <c:pt idx="435">
                  <c:v>436</c:v>
                </c:pt>
                <c:pt idx="436">
                  <c:v>437</c:v>
                </c:pt>
                <c:pt idx="437">
                  <c:v>438</c:v>
                </c:pt>
                <c:pt idx="438">
                  <c:v>439</c:v>
                </c:pt>
                <c:pt idx="439">
                  <c:v>440</c:v>
                </c:pt>
                <c:pt idx="440">
                  <c:v>441</c:v>
                </c:pt>
                <c:pt idx="441">
                  <c:v>442</c:v>
                </c:pt>
                <c:pt idx="442">
                  <c:v>443</c:v>
                </c:pt>
                <c:pt idx="443">
                  <c:v>444</c:v>
                </c:pt>
                <c:pt idx="444">
                  <c:v>445</c:v>
                </c:pt>
                <c:pt idx="445">
                  <c:v>446</c:v>
                </c:pt>
                <c:pt idx="446">
                  <c:v>447</c:v>
                </c:pt>
                <c:pt idx="447">
                  <c:v>448</c:v>
                </c:pt>
                <c:pt idx="448">
                  <c:v>449</c:v>
                </c:pt>
                <c:pt idx="449">
                  <c:v>450</c:v>
                </c:pt>
                <c:pt idx="450">
                  <c:v>451</c:v>
                </c:pt>
                <c:pt idx="451">
                  <c:v>452</c:v>
                </c:pt>
                <c:pt idx="452">
                  <c:v>453</c:v>
                </c:pt>
                <c:pt idx="453">
                  <c:v>454</c:v>
                </c:pt>
                <c:pt idx="454">
                  <c:v>455</c:v>
                </c:pt>
                <c:pt idx="455">
                  <c:v>456</c:v>
                </c:pt>
                <c:pt idx="456">
                  <c:v>457</c:v>
                </c:pt>
                <c:pt idx="457">
                  <c:v>458</c:v>
                </c:pt>
                <c:pt idx="458">
                  <c:v>459</c:v>
                </c:pt>
                <c:pt idx="459">
                  <c:v>460</c:v>
                </c:pt>
                <c:pt idx="460">
                  <c:v>461</c:v>
                </c:pt>
                <c:pt idx="461">
                  <c:v>462</c:v>
                </c:pt>
                <c:pt idx="462">
                  <c:v>463</c:v>
                </c:pt>
                <c:pt idx="463">
                  <c:v>464</c:v>
                </c:pt>
                <c:pt idx="464">
                  <c:v>465</c:v>
                </c:pt>
                <c:pt idx="465">
                  <c:v>466</c:v>
                </c:pt>
                <c:pt idx="466">
                  <c:v>467</c:v>
                </c:pt>
                <c:pt idx="467">
                  <c:v>468</c:v>
                </c:pt>
                <c:pt idx="468">
                  <c:v>469</c:v>
                </c:pt>
                <c:pt idx="469">
                  <c:v>470</c:v>
                </c:pt>
                <c:pt idx="470">
                  <c:v>471</c:v>
                </c:pt>
                <c:pt idx="471">
                  <c:v>472</c:v>
                </c:pt>
                <c:pt idx="472">
                  <c:v>473</c:v>
                </c:pt>
                <c:pt idx="473">
                  <c:v>474</c:v>
                </c:pt>
                <c:pt idx="474">
                  <c:v>475</c:v>
                </c:pt>
                <c:pt idx="475">
                  <c:v>476</c:v>
                </c:pt>
                <c:pt idx="476">
                  <c:v>477</c:v>
                </c:pt>
                <c:pt idx="477">
                  <c:v>478</c:v>
                </c:pt>
                <c:pt idx="478">
                  <c:v>479</c:v>
                </c:pt>
                <c:pt idx="479">
                  <c:v>480</c:v>
                </c:pt>
                <c:pt idx="480">
                  <c:v>481</c:v>
                </c:pt>
                <c:pt idx="481">
                  <c:v>482</c:v>
                </c:pt>
                <c:pt idx="482">
                  <c:v>483</c:v>
                </c:pt>
                <c:pt idx="483">
                  <c:v>484</c:v>
                </c:pt>
                <c:pt idx="484">
                  <c:v>485</c:v>
                </c:pt>
                <c:pt idx="485">
                  <c:v>486</c:v>
                </c:pt>
                <c:pt idx="486">
                  <c:v>487</c:v>
                </c:pt>
                <c:pt idx="487">
                  <c:v>488</c:v>
                </c:pt>
                <c:pt idx="488">
                  <c:v>489</c:v>
                </c:pt>
                <c:pt idx="489">
                  <c:v>490</c:v>
                </c:pt>
                <c:pt idx="490">
                  <c:v>491</c:v>
                </c:pt>
                <c:pt idx="491">
                  <c:v>492</c:v>
                </c:pt>
                <c:pt idx="492">
                  <c:v>493</c:v>
                </c:pt>
                <c:pt idx="493">
                  <c:v>494</c:v>
                </c:pt>
                <c:pt idx="494">
                  <c:v>495</c:v>
                </c:pt>
                <c:pt idx="495">
                  <c:v>496</c:v>
                </c:pt>
                <c:pt idx="496">
                  <c:v>497</c:v>
                </c:pt>
                <c:pt idx="497">
                  <c:v>498</c:v>
                </c:pt>
                <c:pt idx="498">
                  <c:v>499</c:v>
                </c:pt>
                <c:pt idx="499">
                  <c:v>500</c:v>
                </c:pt>
                <c:pt idx="500">
                  <c:v>501</c:v>
                </c:pt>
                <c:pt idx="501">
                  <c:v>502</c:v>
                </c:pt>
                <c:pt idx="502">
                  <c:v>503</c:v>
                </c:pt>
                <c:pt idx="503">
                  <c:v>504</c:v>
                </c:pt>
                <c:pt idx="504">
                  <c:v>505</c:v>
                </c:pt>
                <c:pt idx="505">
                  <c:v>506</c:v>
                </c:pt>
                <c:pt idx="506">
                  <c:v>507</c:v>
                </c:pt>
                <c:pt idx="507">
                  <c:v>508</c:v>
                </c:pt>
                <c:pt idx="508">
                  <c:v>509</c:v>
                </c:pt>
              </c:numCache>
            </c:numRef>
          </c:cat>
          <c:val>
            <c:numRef>
              <c:f>Chart!$G$5:$G$513</c:f>
              <c:numCache>
                <c:formatCode>0%</c:formatCode>
                <c:ptCount val="509"/>
                <c:pt idx="0">
                  <c:v>-1.7544000000000001E-3</c:v>
                </c:pt>
                <c:pt idx="1">
                  <c:v>1.2183204891760058E-2</c:v>
                </c:pt>
                <c:pt idx="2">
                  <c:v>1.4522360278264923E-2</c:v>
                </c:pt>
                <c:pt idx="3">
                  <c:v>6.2767971121297839E-2</c:v>
                </c:pt>
                <c:pt idx="4">
                  <c:v>5.7797192766769312E-2</c:v>
                </c:pt>
                <c:pt idx="5">
                  <c:v>6.3937493911341736E-2</c:v>
                </c:pt>
                <c:pt idx="6">
                  <c:v>0.10155928123979119</c:v>
                </c:pt>
                <c:pt idx="7">
                  <c:v>0.13167624245667153</c:v>
                </c:pt>
                <c:pt idx="8">
                  <c:v>0.12417141828719602</c:v>
                </c:pt>
                <c:pt idx="9">
                  <c:v>0.14600372656746807</c:v>
                </c:pt>
                <c:pt idx="10">
                  <c:v>0.15545791351053162</c:v>
                </c:pt>
                <c:pt idx="11">
                  <c:v>0.14142279732670193</c:v>
                </c:pt>
                <c:pt idx="12">
                  <c:v>0.14678337535206709</c:v>
                </c:pt>
                <c:pt idx="13">
                  <c:v>0.16481459439774038</c:v>
                </c:pt>
                <c:pt idx="14">
                  <c:v>0.15253383764754558</c:v>
                </c:pt>
                <c:pt idx="15">
                  <c:v>0.17231938603844088</c:v>
                </c:pt>
                <c:pt idx="16">
                  <c:v>0.1957111436758201</c:v>
                </c:pt>
                <c:pt idx="17">
                  <c:v>0.18294310094142108</c:v>
                </c:pt>
                <c:pt idx="18">
                  <c:v>0.1910327756315191</c:v>
                </c:pt>
                <c:pt idx="19">
                  <c:v>0.18879101374122542</c:v>
                </c:pt>
                <c:pt idx="20">
                  <c:v>0.1790444728568652</c:v>
                </c:pt>
                <c:pt idx="21">
                  <c:v>0.191422671255153</c:v>
                </c:pt>
                <c:pt idx="22">
                  <c:v>0.1998046871742345</c:v>
                </c:pt>
                <c:pt idx="23">
                  <c:v>0.21140307910467904</c:v>
                </c:pt>
                <c:pt idx="24">
                  <c:v>0.20633481090232086</c:v>
                </c:pt>
                <c:pt idx="25">
                  <c:v>0.19444396867125668</c:v>
                </c:pt>
                <c:pt idx="26">
                  <c:v>0.1940541021598825</c:v>
                </c:pt>
                <c:pt idx="27">
                  <c:v>0.2171535563878062</c:v>
                </c:pt>
                <c:pt idx="28">
                  <c:v>0.2084791464221416</c:v>
                </c:pt>
                <c:pt idx="29">
                  <c:v>0.20672479724528059</c:v>
                </c:pt>
                <c:pt idx="30">
                  <c:v>0.201948942515223</c:v>
                </c:pt>
                <c:pt idx="31">
                  <c:v>0.20487292370767962</c:v>
                </c:pt>
                <c:pt idx="32">
                  <c:v>0.20116926482749453</c:v>
                </c:pt>
                <c:pt idx="33">
                  <c:v>0.18547730966871456</c:v>
                </c:pt>
                <c:pt idx="34">
                  <c:v>0.17368394429666822</c:v>
                </c:pt>
                <c:pt idx="35">
                  <c:v>0.18879113455407714</c:v>
                </c:pt>
                <c:pt idx="36">
                  <c:v>0.18430772766921999</c:v>
                </c:pt>
                <c:pt idx="37">
                  <c:v>0.18888862995984446</c:v>
                </c:pt>
                <c:pt idx="38">
                  <c:v>0.23752404270083072</c:v>
                </c:pt>
                <c:pt idx="39">
                  <c:v>0.25536035297587345</c:v>
                </c:pt>
                <c:pt idx="40">
                  <c:v>0.27729011744597365</c:v>
                </c:pt>
                <c:pt idx="41">
                  <c:v>0.31062342991194947</c:v>
                </c:pt>
                <c:pt idx="42">
                  <c:v>0.31033102982473615</c:v>
                </c:pt>
                <c:pt idx="43">
                  <c:v>0.33245583823022384</c:v>
                </c:pt>
                <c:pt idx="44">
                  <c:v>0.31159810752090311</c:v>
                </c:pt>
                <c:pt idx="45">
                  <c:v>0.30185149082410456</c:v>
                </c:pt>
                <c:pt idx="46">
                  <c:v>0.3326506933940212</c:v>
                </c:pt>
                <c:pt idx="47">
                  <c:v>0.33118864231829859</c:v>
                </c:pt>
                <c:pt idx="48">
                  <c:v>0.35701702995087947</c:v>
                </c:pt>
                <c:pt idx="49">
                  <c:v>0.35536011215730934</c:v>
                </c:pt>
                <c:pt idx="50">
                  <c:v>0.35311834653180108</c:v>
                </c:pt>
                <c:pt idx="51">
                  <c:v>0.29941470309996987</c:v>
                </c:pt>
                <c:pt idx="52">
                  <c:v>0.31072078049017238</c:v>
                </c:pt>
                <c:pt idx="53">
                  <c:v>0.31851799626915245</c:v>
                </c:pt>
                <c:pt idx="54">
                  <c:v>0.30204627834896058</c:v>
                </c:pt>
                <c:pt idx="55">
                  <c:v>0.30321590652080155</c:v>
                </c:pt>
                <c:pt idx="56">
                  <c:v>0.3203698768551535</c:v>
                </c:pt>
                <c:pt idx="57">
                  <c:v>0.34005804412592822</c:v>
                </c:pt>
                <c:pt idx="58">
                  <c:v>0.39249464939838008</c:v>
                </c:pt>
                <c:pt idx="59">
                  <c:v>0.38265054772392326</c:v>
                </c:pt>
                <c:pt idx="60">
                  <c:v>0.38557457710224985</c:v>
                </c:pt>
                <c:pt idx="61">
                  <c:v>0.36881051029388967</c:v>
                </c:pt>
                <c:pt idx="62">
                  <c:v>0.3939566544163966</c:v>
                </c:pt>
                <c:pt idx="63">
                  <c:v>0.37582796933438045</c:v>
                </c:pt>
                <c:pt idx="64">
                  <c:v>0.38167592611803625</c:v>
                </c:pt>
                <c:pt idx="65">
                  <c:v>0.35994105845945867</c:v>
                </c:pt>
                <c:pt idx="66">
                  <c:v>0.33557458653272287</c:v>
                </c:pt>
                <c:pt idx="67">
                  <c:v>0.31988252004317408</c:v>
                </c:pt>
                <c:pt idx="68">
                  <c:v>0.34434641056392223</c:v>
                </c:pt>
                <c:pt idx="69">
                  <c:v>0.34834248026932357</c:v>
                </c:pt>
                <c:pt idx="70">
                  <c:v>0.33547700082533782</c:v>
                </c:pt>
                <c:pt idx="71">
                  <c:v>0.30818652831347215</c:v>
                </c:pt>
                <c:pt idx="72">
                  <c:v>0.29561341677119857</c:v>
                </c:pt>
                <c:pt idx="73">
                  <c:v>0.30487264761549571</c:v>
                </c:pt>
                <c:pt idx="74">
                  <c:v>0.31461926336959478</c:v>
                </c:pt>
                <c:pt idx="75">
                  <c:v>0.3079916103533169</c:v>
                </c:pt>
                <c:pt idx="76">
                  <c:v>0.35029179743382088</c:v>
                </c:pt>
                <c:pt idx="77">
                  <c:v>0.3520462315662265</c:v>
                </c:pt>
                <c:pt idx="78">
                  <c:v>0.35302092169456256</c:v>
                </c:pt>
                <c:pt idx="79">
                  <c:v>0.35175381760139568</c:v>
                </c:pt>
                <c:pt idx="80">
                  <c:v>0.38177329603192378</c:v>
                </c:pt>
                <c:pt idx="81">
                  <c:v>0.39103255888863386</c:v>
                </c:pt>
                <c:pt idx="82">
                  <c:v>0.38216319618990413</c:v>
                </c:pt>
                <c:pt idx="83">
                  <c:v>0.36452181801901462</c:v>
                </c:pt>
                <c:pt idx="84">
                  <c:v>0.36033082570715114</c:v>
                </c:pt>
                <c:pt idx="85">
                  <c:v>0.36403446241322146</c:v>
                </c:pt>
                <c:pt idx="86">
                  <c:v>0.33908327121986637</c:v>
                </c:pt>
                <c:pt idx="87">
                  <c:v>0.31812809101687378</c:v>
                </c:pt>
                <c:pt idx="88">
                  <c:v>0.31871294445085785</c:v>
                </c:pt>
                <c:pt idx="89">
                  <c:v>0.34005802778362271</c:v>
                </c:pt>
                <c:pt idx="90">
                  <c:v>0.32806973466126776</c:v>
                </c:pt>
                <c:pt idx="91">
                  <c:v>0.35097415653312991</c:v>
                </c:pt>
                <c:pt idx="92">
                  <c:v>0.3531184227143791</c:v>
                </c:pt>
                <c:pt idx="93">
                  <c:v>0.36179285898687419</c:v>
                </c:pt>
                <c:pt idx="94">
                  <c:v>0.38576940113791247</c:v>
                </c:pt>
                <c:pt idx="95">
                  <c:v>0.37202672598682796</c:v>
                </c:pt>
                <c:pt idx="96">
                  <c:v>0.37660764881955289</c:v>
                </c:pt>
                <c:pt idx="97">
                  <c:v>0.3677383033989734</c:v>
                </c:pt>
                <c:pt idx="98">
                  <c:v>0.37075977408501193</c:v>
                </c:pt>
                <c:pt idx="99">
                  <c:v>0.34834264289158057</c:v>
                </c:pt>
                <c:pt idx="100">
                  <c:v>0.37767988211561554</c:v>
                </c:pt>
                <c:pt idx="101">
                  <c:v>0.38362525964688543</c:v>
                </c:pt>
                <c:pt idx="102">
                  <c:v>0.41588641965091599</c:v>
                </c:pt>
                <c:pt idx="103">
                  <c:v>0.41500927801394227</c:v>
                </c:pt>
                <c:pt idx="104">
                  <c:v>0.43060381226507838</c:v>
                </c:pt>
                <c:pt idx="105">
                  <c:v>0.42085725155249754</c:v>
                </c:pt>
                <c:pt idx="106">
                  <c:v>0.42972666877386367</c:v>
                </c:pt>
                <c:pt idx="107">
                  <c:v>0.42027245820392967</c:v>
                </c:pt>
                <c:pt idx="108">
                  <c:v>0.4293367790594329</c:v>
                </c:pt>
                <c:pt idx="109">
                  <c:v>0.42992152073574608</c:v>
                </c:pt>
                <c:pt idx="110">
                  <c:v>0.42690009656243144</c:v>
                </c:pt>
                <c:pt idx="111">
                  <c:v>0.41588642547710464</c:v>
                </c:pt>
                <c:pt idx="112">
                  <c:v>0.42582793042494949</c:v>
                </c:pt>
                <c:pt idx="113">
                  <c:v>0.40204626120780573</c:v>
                </c:pt>
                <c:pt idx="114">
                  <c:v>0.36422956842737819</c:v>
                </c:pt>
                <c:pt idx="115">
                  <c:v>0.38157847584906923</c:v>
                </c:pt>
                <c:pt idx="116">
                  <c:v>0.37953166733709875</c:v>
                </c:pt>
                <c:pt idx="117">
                  <c:v>0.40613979823036339</c:v>
                </c:pt>
                <c:pt idx="118">
                  <c:v>0.40847891178471962</c:v>
                </c:pt>
                <c:pt idx="119">
                  <c:v>0.41617864345177313</c:v>
                </c:pt>
                <c:pt idx="120">
                  <c:v>0.39337165287043963</c:v>
                </c:pt>
                <c:pt idx="121">
                  <c:v>0.39600317457405065</c:v>
                </c:pt>
                <c:pt idx="122">
                  <c:v>0.40604211260304757</c:v>
                </c:pt>
                <c:pt idx="123">
                  <c:v>0.4243656534144904</c:v>
                </c:pt>
                <c:pt idx="124">
                  <c:v>0.43206548926371835</c:v>
                </c:pt>
                <c:pt idx="125">
                  <c:v>0.4200772394334451</c:v>
                </c:pt>
                <c:pt idx="126">
                  <c:v>0.41325462034431104</c:v>
                </c:pt>
                <c:pt idx="127">
                  <c:v>0.4376211085555155</c:v>
                </c:pt>
                <c:pt idx="128">
                  <c:v>0.43888822780059633</c:v>
                </c:pt>
                <c:pt idx="129">
                  <c:v>0.45146137702394062</c:v>
                </c:pt>
                <c:pt idx="130">
                  <c:v>0.44541850787297688</c:v>
                </c:pt>
                <c:pt idx="131">
                  <c:v>0.4369389601965401</c:v>
                </c:pt>
                <c:pt idx="132">
                  <c:v>0.43703638465804162</c:v>
                </c:pt>
                <c:pt idx="133">
                  <c:v>0.44249453625424984</c:v>
                </c:pt>
                <c:pt idx="134">
                  <c:v>0.4179331817854488</c:v>
                </c:pt>
                <c:pt idx="135">
                  <c:v>0.43070124470747229</c:v>
                </c:pt>
                <c:pt idx="136">
                  <c:v>0.4580891586349074</c:v>
                </c:pt>
                <c:pt idx="137">
                  <c:v>0.45945363846955778</c:v>
                </c:pt>
                <c:pt idx="138">
                  <c:v>0.44307944431811253</c:v>
                </c:pt>
                <c:pt idx="139">
                  <c:v>0.47056476833842864</c:v>
                </c:pt>
                <c:pt idx="140">
                  <c:v>0.48440498865564563</c:v>
                </c:pt>
                <c:pt idx="141">
                  <c:v>0.49590601006725077</c:v>
                </c:pt>
                <c:pt idx="142">
                  <c:v>0.49775779211711302</c:v>
                </c:pt>
                <c:pt idx="143">
                  <c:v>0.49775779211711302</c:v>
                </c:pt>
                <c:pt idx="144">
                  <c:v>0.47426845666334039</c:v>
                </c:pt>
                <c:pt idx="145">
                  <c:v>0.48996042268921935</c:v>
                </c:pt>
                <c:pt idx="146">
                  <c:v>0.47953159370664844</c:v>
                </c:pt>
                <c:pt idx="147">
                  <c:v>0.4740734537043052</c:v>
                </c:pt>
                <c:pt idx="148">
                  <c:v>0.47007738797865817</c:v>
                </c:pt>
                <c:pt idx="149">
                  <c:v>0.4752430929122764</c:v>
                </c:pt>
                <c:pt idx="150">
                  <c:v>0.46003835245086666</c:v>
                </c:pt>
                <c:pt idx="151">
                  <c:v>0.45799152468456583</c:v>
                </c:pt>
                <c:pt idx="152">
                  <c:v>0.46101292052116971</c:v>
                </c:pt>
                <c:pt idx="153">
                  <c:v>0.47358595941129855</c:v>
                </c:pt>
                <c:pt idx="154">
                  <c:v>0.46842030383058209</c:v>
                </c:pt>
                <c:pt idx="155">
                  <c:v>0.48937539577639644</c:v>
                </c:pt>
                <c:pt idx="156">
                  <c:v>0.49483350978929841</c:v>
                </c:pt>
                <c:pt idx="157">
                  <c:v>0.4880109401672692</c:v>
                </c:pt>
                <c:pt idx="158">
                  <c:v>0.48001868460653685</c:v>
                </c:pt>
                <c:pt idx="159">
                  <c:v>0.4774845966147534</c:v>
                </c:pt>
                <c:pt idx="160">
                  <c:v>0.49502839646341656</c:v>
                </c:pt>
                <c:pt idx="161">
                  <c:v>0.49083738335961069</c:v>
                </c:pt>
                <c:pt idx="162">
                  <c:v>0.49142223886510261</c:v>
                </c:pt>
                <c:pt idx="163">
                  <c:v>0.48040853305775544</c:v>
                </c:pt>
                <c:pt idx="164">
                  <c:v>0.47212387082505747</c:v>
                </c:pt>
                <c:pt idx="165">
                  <c:v>0.47914133810489323</c:v>
                </c:pt>
                <c:pt idx="166">
                  <c:v>0.48976512285169793</c:v>
                </c:pt>
                <c:pt idx="167">
                  <c:v>0.5120847839222622</c:v>
                </c:pt>
                <c:pt idx="168">
                  <c:v>0.51871240273867203</c:v>
                </c:pt>
                <c:pt idx="169">
                  <c:v>0.5279716885156891</c:v>
                </c:pt>
                <c:pt idx="170">
                  <c:v>0.54103217932044578</c:v>
                </c:pt>
                <c:pt idx="171">
                  <c:v>0.54726996937589889</c:v>
                </c:pt>
                <c:pt idx="172">
                  <c:v>0.55691905435892086</c:v>
                </c:pt>
                <c:pt idx="173">
                  <c:v>0.54688004029641446</c:v>
                </c:pt>
                <c:pt idx="174">
                  <c:v>0.56637320381221379</c:v>
                </c:pt>
                <c:pt idx="175">
                  <c:v>0.55994042233879782</c:v>
                </c:pt>
                <c:pt idx="176">
                  <c:v>0.56354669260716062</c:v>
                </c:pt>
                <c:pt idx="177">
                  <c:v>0.54785462529081652</c:v>
                </c:pt>
                <c:pt idx="178">
                  <c:v>0.57709437308987255</c:v>
                </c:pt>
                <c:pt idx="179">
                  <c:v>0.57348818909636523</c:v>
                </c:pt>
                <c:pt idx="180">
                  <c:v>0.58820549617544016</c:v>
                </c:pt>
                <c:pt idx="181">
                  <c:v>0.60253301559753814</c:v>
                </c:pt>
                <c:pt idx="182">
                  <c:v>0.58001838824820218</c:v>
                </c:pt>
                <c:pt idx="183">
                  <c:v>0.58226011833744873</c:v>
                </c:pt>
                <c:pt idx="184">
                  <c:v>0.59171428077052668</c:v>
                </c:pt>
                <c:pt idx="185">
                  <c:v>0.60116842691259142</c:v>
                </c:pt>
                <c:pt idx="186">
                  <c:v>0.61890713144698539</c:v>
                </c:pt>
                <c:pt idx="187">
                  <c:v>0.61608068148619211</c:v>
                </c:pt>
                <c:pt idx="188">
                  <c:v>0.61744513840557103</c:v>
                </c:pt>
                <c:pt idx="189">
                  <c:v>0.60779594594338504</c:v>
                </c:pt>
                <c:pt idx="190">
                  <c:v>0.60087583141245005</c:v>
                </c:pt>
                <c:pt idx="191">
                  <c:v>0.60721113742768162</c:v>
                </c:pt>
                <c:pt idx="192">
                  <c:v>0.59259130203718446</c:v>
                </c:pt>
                <c:pt idx="193">
                  <c:v>0.59561276625540938</c:v>
                </c:pt>
                <c:pt idx="194">
                  <c:v>0.59132423782354482</c:v>
                </c:pt>
                <c:pt idx="195">
                  <c:v>0.57884857406385581</c:v>
                </c:pt>
                <c:pt idx="196">
                  <c:v>0.58031058784343892</c:v>
                </c:pt>
                <c:pt idx="197">
                  <c:v>0.59288369691137999</c:v>
                </c:pt>
                <c:pt idx="198">
                  <c:v>0.61344894045709375</c:v>
                </c:pt>
                <c:pt idx="199">
                  <c:v>0.61997921369869968</c:v>
                </c:pt>
                <c:pt idx="200">
                  <c:v>0.61286426499213498</c:v>
                </c:pt>
                <c:pt idx="201">
                  <c:v>0.60292273094915005</c:v>
                </c:pt>
                <c:pt idx="202">
                  <c:v>0.58274738370378554</c:v>
                </c:pt>
                <c:pt idx="203">
                  <c:v>0.58430686470094884</c:v>
                </c:pt>
                <c:pt idx="204">
                  <c:v>0.59824448748178227</c:v>
                </c:pt>
                <c:pt idx="205">
                  <c:v>0.602533056915042</c:v>
                </c:pt>
                <c:pt idx="206">
                  <c:v>0.60652913334576541</c:v>
                </c:pt>
                <c:pt idx="207">
                  <c:v>0.58645121419595014</c:v>
                </c:pt>
                <c:pt idx="208">
                  <c:v>0.57270858055297769</c:v>
                </c:pt>
                <c:pt idx="209">
                  <c:v>0.57728940883555424</c:v>
                </c:pt>
                <c:pt idx="210">
                  <c:v>0.58557396372652226</c:v>
                </c:pt>
                <c:pt idx="211">
                  <c:v>0.60662658058729746</c:v>
                </c:pt>
                <c:pt idx="212">
                  <c:v>0.61335175879097781</c:v>
                </c:pt>
                <c:pt idx="213">
                  <c:v>0.62884880911004437</c:v>
                </c:pt>
                <c:pt idx="214">
                  <c:v>0.64853686755063844</c:v>
                </c:pt>
                <c:pt idx="215">
                  <c:v>0.64843943902176626</c:v>
                </c:pt>
                <c:pt idx="216">
                  <c:v>0.64736729401062632</c:v>
                </c:pt>
                <c:pt idx="217">
                  <c:v>0.66208470867858771</c:v>
                </c:pt>
                <c:pt idx="218">
                  <c:v>0.66656818218024827</c:v>
                </c:pt>
                <c:pt idx="219">
                  <c:v>0.66247459075435899</c:v>
                </c:pt>
                <c:pt idx="220">
                  <c:v>0.66081760232975428</c:v>
                </c:pt>
                <c:pt idx="221">
                  <c:v>0.64190919392723012</c:v>
                </c:pt>
                <c:pt idx="222">
                  <c:v>0.61481375164536534</c:v>
                </c:pt>
                <c:pt idx="223">
                  <c:v>0.62417046696652423</c:v>
                </c:pt>
                <c:pt idx="224">
                  <c:v>0.63849792432382269</c:v>
                </c:pt>
                <c:pt idx="225">
                  <c:v>0.6462952082460951</c:v>
                </c:pt>
                <c:pt idx="226">
                  <c:v>0.62378063960764241</c:v>
                </c:pt>
                <c:pt idx="227">
                  <c:v>0.6421041922352948</c:v>
                </c:pt>
                <c:pt idx="228">
                  <c:v>0.63313731808317475</c:v>
                </c:pt>
                <c:pt idx="229">
                  <c:v>0.62845903292179361</c:v>
                </c:pt>
                <c:pt idx="230">
                  <c:v>0.63849799432204657</c:v>
                </c:pt>
                <c:pt idx="231">
                  <c:v>0.61335180175338677</c:v>
                </c:pt>
                <c:pt idx="232">
                  <c:v>0.61266951527642521</c:v>
                </c:pt>
                <c:pt idx="233">
                  <c:v>0.61803019001215542</c:v>
                </c:pt>
                <c:pt idx="234">
                  <c:v>0.60126610281947768</c:v>
                </c:pt>
                <c:pt idx="235">
                  <c:v>0.5979522826196928</c:v>
                </c:pt>
                <c:pt idx="236">
                  <c:v>0.60652929149665402</c:v>
                </c:pt>
                <c:pt idx="237">
                  <c:v>0.64999908237182868</c:v>
                </c:pt>
                <c:pt idx="238">
                  <c:v>0.64775739361851836</c:v>
                </c:pt>
                <c:pt idx="239">
                  <c:v>0.64610040878349539</c:v>
                </c:pt>
                <c:pt idx="240">
                  <c:v>0.65233814167253956</c:v>
                </c:pt>
                <c:pt idx="241">
                  <c:v>0.66033033602999525</c:v>
                </c:pt>
                <c:pt idx="242">
                  <c:v>0.63342982995867092</c:v>
                </c:pt>
                <c:pt idx="243">
                  <c:v>0.60857605169496876</c:v>
                </c:pt>
                <c:pt idx="244">
                  <c:v>0.58440446193896411</c:v>
                </c:pt>
                <c:pt idx="245">
                  <c:v>0.5793362689461139</c:v>
                </c:pt>
                <c:pt idx="246">
                  <c:v>0.579043933802732</c:v>
                </c:pt>
                <c:pt idx="247">
                  <c:v>0.59298152298883511</c:v>
                </c:pt>
                <c:pt idx="248">
                  <c:v>0.57241629082520151</c:v>
                </c:pt>
                <c:pt idx="249">
                  <c:v>0.57641242958670458</c:v>
                </c:pt>
                <c:pt idx="250">
                  <c:v>0.55146113129244911</c:v>
                </c:pt>
                <c:pt idx="251">
                  <c:v>0.56072040647011567</c:v>
                </c:pt>
                <c:pt idx="252">
                  <c:v>0.57446301786520682</c:v>
                </c:pt>
                <c:pt idx="253">
                  <c:v>0.57456047712601266</c:v>
                </c:pt>
                <c:pt idx="254">
                  <c:v>0.58050586003159266</c:v>
                </c:pt>
                <c:pt idx="255">
                  <c:v>0.59561312529470478</c:v>
                </c:pt>
                <c:pt idx="256">
                  <c:v>0.59268916424260221</c:v>
                </c:pt>
                <c:pt idx="257">
                  <c:v>0.61101273453938054</c:v>
                </c:pt>
                <c:pt idx="258">
                  <c:v>0.5940536034828845</c:v>
                </c:pt>
                <c:pt idx="259">
                  <c:v>0.59824468921716178</c:v>
                </c:pt>
                <c:pt idx="260">
                  <c:v>0.60175347560786907</c:v>
                </c:pt>
                <c:pt idx="261">
                  <c:v>0.58645128395399682</c:v>
                </c:pt>
                <c:pt idx="262">
                  <c:v>0.57163652592904923</c:v>
                </c:pt>
                <c:pt idx="263">
                  <c:v>0.56764048289822222</c:v>
                </c:pt>
                <c:pt idx="264">
                  <c:v>0.58031109386529556</c:v>
                </c:pt>
                <c:pt idx="265">
                  <c:v>0.58138317691137376</c:v>
                </c:pt>
                <c:pt idx="266">
                  <c:v>0.5845995521548939</c:v>
                </c:pt>
                <c:pt idx="267">
                  <c:v>0.60233835184149176</c:v>
                </c:pt>
                <c:pt idx="268">
                  <c:v>0.60068137375185238</c:v>
                </c:pt>
                <c:pt idx="269">
                  <c:v>0.60818616837268813</c:v>
                </c:pt>
                <c:pt idx="270">
                  <c:v>0.63635387074896954</c:v>
                </c:pt>
                <c:pt idx="271">
                  <c:v>0.63703606667768486</c:v>
                </c:pt>
                <c:pt idx="272">
                  <c:v>0.6351842514790591</c:v>
                </c:pt>
                <c:pt idx="273">
                  <c:v>0.6268995904689405</c:v>
                </c:pt>
                <c:pt idx="274">
                  <c:v>0.61286449039192403</c:v>
                </c:pt>
                <c:pt idx="275">
                  <c:v>0.60623674634155655</c:v>
                </c:pt>
                <c:pt idx="276">
                  <c:v>0.61169489942929989</c:v>
                </c:pt>
                <c:pt idx="277">
                  <c:v>0.6021431896078322</c:v>
                </c:pt>
                <c:pt idx="278">
                  <c:v>0.6202717602268828</c:v>
                </c:pt>
                <c:pt idx="279">
                  <c:v>0.63372212219005442</c:v>
                </c:pt>
                <c:pt idx="280">
                  <c:v>0.64960908959507946</c:v>
                </c:pt>
                <c:pt idx="281">
                  <c:v>0.6414219147225102</c:v>
                </c:pt>
                <c:pt idx="282">
                  <c:v>0.65457988107530873</c:v>
                </c:pt>
                <c:pt idx="283">
                  <c:v>0.65214318128444915</c:v>
                </c:pt>
                <c:pt idx="284">
                  <c:v>0.6576012014981405</c:v>
                </c:pt>
                <c:pt idx="285">
                  <c:v>0.64161678735197381</c:v>
                </c:pt>
                <c:pt idx="286">
                  <c:v>0.63752325173103297</c:v>
                </c:pt>
                <c:pt idx="287">
                  <c:v>0.6299208862825465</c:v>
                </c:pt>
                <c:pt idx="288">
                  <c:v>0.61861477706275902</c:v>
                </c:pt>
                <c:pt idx="289">
                  <c:v>0.61598323315821046</c:v>
                </c:pt>
                <c:pt idx="290">
                  <c:v>0.62056406082924398</c:v>
                </c:pt>
                <c:pt idx="291">
                  <c:v>0.63489146769103555</c:v>
                </c:pt>
                <c:pt idx="292">
                  <c:v>0.6596478117405471</c:v>
                </c:pt>
                <c:pt idx="293">
                  <c:v>0.66471604422804043</c:v>
                </c:pt>
                <c:pt idx="294">
                  <c:v>0.68274724958949218</c:v>
                </c:pt>
                <c:pt idx="295">
                  <c:v>0.66023259621415975</c:v>
                </c:pt>
                <c:pt idx="296">
                  <c:v>0.65331258072987941</c:v>
                </c:pt>
                <c:pt idx="297">
                  <c:v>0.65574923281135922</c:v>
                </c:pt>
                <c:pt idx="298">
                  <c:v>0.65555435112665728</c:v>
                </c:pt>
                <c:pt idx="299">
                  <c:v>0.66110989486273297</c:v>
                </c:pt>
                <c:pt idx="300">
                  <c:v>0.63557381855999773</c:v>
                </c:pt>
                <c:pt idx="301">
                  <c:v>0.62504742902112742</c:v>
                </c:pt>
                <c:pt idx="302">
                  <c:v>0.6274840251362015</c:v>
                </c:pt>
                <c:pt idx="303">
                  <c:v>0.6174450526755515</c:v>
                </c:pt>
                <c:pt idx="304">
                  <c:v>0.61783485693324613</c:v>
                </c:pt>
                <c:pt idx="305">
                  <c:v>0.62251314998903995</c:v>
                </c:pt>
                <c:pt idx="306">
                  <c:v>0.61188942063685658</c:v>
                </c:pt>
                <c:pt idx="307">
                  <c:v>0.60662627930059321</c:v>
                </c:pt>
                <c:pt idx="308">
                  <c:v>0.59229886812967436</c:v>
                </c:pt>
                <c:pt idx="309">
                  <c:v>0.59405326302257966</c:v>
                </c:pt>
                <c:pt idx="310">
                  <c:v>0.59493047053322101</c:v>
                </c:pt>
                <c:pt idx="311">
                  <c:v>0.6066264146597351</c:v>
                </c:pt>
                <c:pt idx="312">
                  <c:v>0.5930786980807583</c:v>
                </c:pt>
                <c:pt idx="313">
                  <c:v>0.58323458688170793</c:v>
                </c:pt>
                <c:pt idx="314">
                  <c:v>0.57806896739508895</c:v>
                </c:pt>
                <c:pt idx="315">
                  <c:v>0.57660704430369414</c:v>
                </c:pt>
                <c:pt idx="316">
                  <c:v>0.59814696506438003</c:v>
                </c:pt>
                <c:pt idx="317">
                  <c:v>0.60243543263043375</c:v>
                </c:pt>
                <c:pt idx="318">
                  <c:v>0.62075896131547625</c:v>
                </c:pt>
                <c:pt idx="319">
                  <c:v>0.62358540286811426</c:v>
                </c:pt>
                <c:pt idx="320">
                  <c:v>0.61169458809458876</c:v>
                </c:pt>
                <c:pt idx="321">
                  <c:v>0.61871206750061147</c:v>
                </c:pt>
                <c:pt idx="322">
                  <c:v>0.61919946170413587</c:v>
                </c:pt>
                <c:pt idx="323">
                  <c:v>0.60906294923397564</c:v>
                </c:pt>
                <c:pt idx="324">
                  <c:v>0.61841965028377111</c:v>
                </c:pt>
                <c:pt idx="325">
                  <c:v>0.62611944361196126</c:v>
                </c:pt>
                <c:pt idx="326">
                  <c:v>0.62728911132775145</c:v>
                </c:pt>
                <c:pt idx="327">
                  <c:v>0.62943339018974798</c:v>
                </c:pt>
                <c:pt idx="328">
                  <c:v>0.62319559328542362</c:v>
                </c:pt>
                <c:pt idx="329">
                  <c:v>0.63654848719446755</c:v>
                </c:pt>
                <c:pt idx="330">
                  <c:v>0.6218311703039765</c:v>
                </c:pt>
                <c:pt idx="331">
                  <c:v>0.62270841878399397</c:v>
                </c:pt>
                <c:pt idx="332">
                  <c:v>0.61247448359924905</c:v>
                </c:pt>
                <c:pt idx="333">
                  <c:v>0.61569088645168457</c:v>
                </c:pt>
                <c:pt idx="334">
                  <c:v>0.61276697065447294</c:v>
                </c:pt>
                <c:pt idx="335">
                  <c:v>0.61705547930614024</c:v>
                </c:pt>
                <c:pt idx="336">
                  <c:v>0.61013545208799758</c:v>
                </c:pt>
                <c:pt idx="337">
                  <c:v>0.60906326289045221</c:v>
                </c:pt>
                <c:pt idx="338">
                  <c:v>0.61422899958963573</c:v>
                </c:pt>
                <c:pt idx="339">
                  <c:v>0.60750379873154547</c:v>
                </c:pt>
                <c:pt idx="340">
                  <c:v>0.5919092436296709</c:v>
                </c:pt>
                <c:pt idx="341">
                  <c:v>0.57572987403204068</c:v>
                </c:pt>
                <c:pt idx="342">
                  <c:v>0.58274738702604245</c:v>
                </c:pt>
                <c:pt idx="343">
                  <c:v>0.58206506462749541</c:v>
                </c:pt>
                <c:pt idx="344">
                  <c:v>0.57894618155908883</c:v>
                </c:pt>
                <c:pt idx="345">
                  <c:v>0.59415080170903023</c:v>
                </c:pt>
                <c:pt idx="346">
                  <c:v>0.59132437233760005</c:v>
                </c:pt>
                <c:pt idx="347">
                  <c:v>0.59083710881479012</c:v>
                </c:pt>
                <c:pt idx="348">
                  <c:v>0.60584681602016843</c:v>
                </c:pt>
                <c:pt idx="349">
                  <c:v>0.61149987856660415</c:v>
                </c:pt>
                <c:pt idx="350">
                  <c:v>0.60682153326913735</c:v>
                </c:pt>
                <c:pt idx="351">
                  <c:v>0.60750378969216356</c:v>
                </c:pt>
                <c:pt idx="352">
                  <c:v>0.59882937774222667</c:v>
                </c:pt>
                <c:pt idx="353">
                  <c:v>0.62553494460453063</c:v>
                </c:pt>
                <c:pt idx="354">
                  <c:v>0.64532046828977352</c:v>
                </c:pt>
                <c:pt idx="355">
                  <c:v>0.64990136953758593</c:v>
                </c:pt>
                <c:pt idx="356">
                  <c:v>0.64619767094324798</c:v>
                </c:pt>
                <c:pt idx="357">
                  <c:v>0.63693846752326055</c:v>
                </c:pt>
                <c:pt idx="358">
                  <c:v>0.6353789562452512</c:v>
                </c:pt>
                <c:pt idx="359">
                  <c:v>0.63498908190208248</c:v>
                </c:pt>
                <c:pt idx="360">
                  <c:v>0.62787409991436927</c:v>
                </c:pt>
                <c:pt idx="361">
                  <c:v>0.62943360330208731</c:v>
                </c:pt>
                <c:pt idx="362">
                  <c:v>0.63576884115172572</c:v>
                </c:pt>
                <c:pt idx="363">
                  <c:v>0.63303972441714818</c:v>
                </c:pt>
                <c:pt idx="364">
                  <c:v>0.62806891479999494</c:v>
                </c:pt>
                <c:pt idx="365">
                  <c:v>0.61997920316924526</c:v>
                </c:pt>
                <c:pt idx="366">
                  <c:v>0.60691876883537454</c:v>
                </c:pt>
                <c:pt idx="367">
                  <c:v>0.61734767164511628</c:v>
                </c:pt>
                <c:pt idx="368">
                  <c:v>0.60662643566454788</c:v>
                </c:pt>
                <c:pt idx="369">
                  <c:v>0.60077847610137236</c:v>
                </c:pt>
                <c:pt idx="370">
                  <c:v>0.59785449413692549</c:v>
                </c:pt>
                <c:pt idx="371">
                  <c:v>0.58742561742459243</c:v>
                </c:pt>
                <c:pt idx="372">
                  <c:v>0.59268872705916364</c:v>
                </c:pt>
                <c:pt idx="373">
                  <c:v>0.58615854400934819</c:v>
                </c:pt>
                <c:pt idx="374">
                  <c:v>0.59220149083031504</c:v>
                </c:pt>
                <c:pt idx="375">
                  <c:v>0.56832228975143817</c:v>
                </c:pt>
                <c:pt idx="376">
                  <c:v>0.54073942148043486</c:v>
                </c:pt>
                <c:pt idx="377">
                  <c:v>0.54717216263905799</c:v>
                </c:pt>
                <c:pt idx="378">
                  <c:v>0.51900450096326756</c:v>
                </c:pt>
                <c:pt idx="379">
                  <c:v>0.51481341564465977</c:v>
                </c:pt>
                <c:pt idx="380">
                  <c:v>0.52339044068538132</c:v>
                </c:pt>
                <c:pt idx="381">
                  <c:v>0.51023261277109344</c:v>
                </c:pt>
                <c:pt idx="382">
                  <c:v>0.52641188577497156</c:v>
                </c:pt>
                <c:pt idx="383">
                  <c:v>0.52290312277314066</c:v>
                </c:pt>
                <c:pt idx="384">
                  <c:v>0.52173353317485094</c:v>
                </c:pt>
                <c:pt idx="385">
                  <c:v>0.51793239498233334</c:v>
                </c:pt>
                <c:pt idx="386">
                  <c:v>0.5072110866833337</c:v>
                </c:pt>
                <c:pt idx="387">
                  <c:v>0.5039946982243515</c:v>
                </c:pt>
                <c:pt idx="388">
                  <c:v>0.50379978051146179</c:v>
                </c:pt>
                <c:pt idx="389">
                  <c:v>0.53518378117078003</c:v>
                </c:pt>
                <c:pt idx="390">
                  <c:v>0.55263022373351722</c:v>
                </c:pt>
                <c:pt idx="391">
                  <c:v>0.52845872114741144</c:v>
                </c:pt>
                <c:pt idx="392">
                  <c:v>0.53079787437425541</c:v>
                </c:pt>
                <c:pt idx="393">
                  <c:v>0.54181150584101601</c:v>
                </c:pt>
                <c:pt idx="394">
                  <c:v>0.5520454338921863</c:v>
                </c:pt>
                <c:pt idx="395">
                  <c:v>0.53888750311273514</c:v>
                </c:pt>
                <c:pt idx="396">
                  <c:v>0.52290307861790319</c:v>
                </c:pt>
                <c:pt idx="397">
                  <c:v>0.50652882471660354</c:v>
                </c:pt>
                <c:pt idx="398">
                  <c:v>0.51257166248542441</c:v>
                </c:pt>
                <c:pt idx="399">
                  <c:v>0.50438456584788938</c:v>
                </c:pt>
                <c:pt idx="400">
                  <c:v>0.52378029517845293</c:v>
                </c:pt>
                <c:pt idx="401">
                  <c:v>0.52806882244120334</c:v>
                </c:pt>
                <c:pt idx="402">
                  <c:v>0.52797133165033161</c:v>
                </c:pt>
                <c:pt idx="403">
                  <c:v>0.53420912181466074</c:v>
                </c:pt>
                <c:pt idx="404">
                  <c:v>0.55233779706075925</c:v>
                </c:pt>
                <c:pt idx="405">
                  <c:v>0.53781536650169648</c:v>
                </c:pt>
                <c:pt idx="406">
                  <c:v>0.54834171268540066</c:v>
                </c:pt>
                <c:pt idx="407">
                  <c:v>0.54639235046912971</c:v>
                </c:pt>
                <c:pt idx="408">
                  <c:v>0.52719156984952975</c:v>
                </c:pt>
                <c:pt idx="409">
                  <c:v>0.52884841998365939</c:v>
                </c:pt>
                <c:pt idx="410">
                  <c:v>0.5269965258925331</c:v>
                </c:pt>
                <c:pt idx="411">
                  <c:v>0.53313688432245199</c:v>
                </c:pt>
                <c:pt idx="412">
                  <c:v>0.55828308887173184</c:v>
                </c:pt>
                <c:pt idx="413">
                  <c:v>0.55477430284051943</c:v>
                </c:pt>
                <c:pt idx="414">
                  <c:v>0.55146045689144518</c:v>
                </c:pt>
                <c:pt idx="415">
                  <c:v>0.53976461709112344</c:v>
                </c:pt>
                <c:pt idx="416">
                  <c:v>0.53664566988274376</c:v>
                </c:pt>
                <c:pt idx="417">
                  <c:v>0.53547612886339602</c:v>
                </c:pt>
                <c:pt idx="418">
                  <c:v>0.51110965817446274</c:v>
                </c:pt>
                <c:pt idx="419">
                  <c:v>0.51539818738436161</c:v>
                </c:pt>
                <c:pt idx="420">
                  <c:v>0.51510571553419648</c:v>
                </c:pt>
                <c:pt idx="421">
                  <c:v>0.51919922815642683</c:v>
                </c:pt>
                <c:pt idx="422">
                  <c:v>0.51071966574454897</c:v>
                </c:pt>
                <c:pt idx="423">
                  <c:v>0.53732782014534131</c:v>
                </c:pt>
                <c:pt idx="424">
                  <c:v>0.53323422362585826</c:v>
                </c:pt>
                <c:pt idx="425">
                  <c:v>0.54307820063522594</c:v>
                </c:pt>
                <c:pt idx="426">
                  <c:v>0.54941346249575385</c:v>
                </c:pt>
                <c:pt idx="427">
                  <c:v>0.53898467036238729</c:v>
                </c:pt>
                <c:pt idx="428">
                  <c:v>0.54015429871186282</c:v>
                </c:pt>
                <c:pt idx="429">
                  <c:v>0.52826353744865795</c:v>
                </c:pt>
                <c:pt idx="430">
                  <c:v>0.54064170797022326</c:v>
                </c:pt>
                <c:pt idx="431">
                  <c:v>0.54629478458927849</c:v>
                </c:pt>
                <c:pt idx="432">
                  <c:v>0.56237671423744229</c:v>
                </c:pt>
                <c:pt idx="433">
                  <c:v>0.55838062331543714</c:v>
                </c:pt>
                <c:pt idx="434">
                  <c:v>0.55994009480518891</c:v>
                </c:pt>
                <c:pt idx="435">
                  <c:v>0.57582699271271331</c:v>
                </c:pt>
                <c:pt idx="436">
                  <c:v>0.57797122050169758</c:v>
                </c:pt>
                <c:pt idx="437">
                  <c:v>0.57114854633561429</c:v>
                </c:pt>
                <c:pt idx="438">
                  <c:v>0.55077813408780929</c:v>
                </c:pt>
                <c:pt idx="439">
                  <c:v>0.5542869246939961</c:v>
                </c:pt>
                <c:pt idx="440">
                  <c:v>0.56452081609225901</c:v>
                </c:pt>
                <c:pt idx="441">
                  <c:v>0.56052471702379614</c:v>
                </c:pt>
                <c:pt idx="442">
                  <c:v>0.55945263654320088</c:v>
                </c:pt>
                <c:pt idx="443">
                  <c:v>0.54473530228582434</c:v>
                </c:pt>
                <c:pt idx="444">
                  <c:v>0.53508611322009592</c:v>
                </c:pt>
                <c:pt idx="445">
                  <c:v>0.53995939759512424</c:v>
                </c:pt>
                <c:pt idx="446">
                  <c:v>0.53986191816525642</c:v>
                </c:pt>
                <c:pt idx="447">
                  <c:v>0.52602179323097875</c:v>
                </c:pt>
                <c:pt idx="448">
                  <c:v>0.51832194506887319</c:v>
                </c:pt>
                <c:pt idx="449">
                  <c:v>0.50808799966252538</c:v>
                </c:pt>
                <c:pt idx="450">
                  <c:v>0.49980346904517936</c:v>
                </c:pt>
                <c:pt idx="451">
                  <c:v>0.49268840138802905</c:v>
                </c:pt>
                <c:pt idx="452">
                  <c:v>0.47397501470634773</c:v>
                </c:pt>
                <c:pt idx="453">
                  <c:v>0.47777624887177406</c:v>
                </c:pt>
                <c:pt idx="454">
                  <c:v>0.46481334339429559</c:v>
                </c:pt>
                <c:pt idx="455">
                  <c:v>0.46539809688097855</c:v>
                </c:pt>
                <c:pt idx="456">
                  <c:v>0.46734736942944965</c:v>
                </c:pt>
                <c:pt idx="457">
                  <c:v>0.49356563875694137</c:v>
                </c:pt>
                <c:pt idx="458">
                  <c:v>0.50428690098163043</c:v>
                </c:pt>
                <c:pt idx="459">
                  <c:v>0.49756183596210191</c:v>
                </c:pt>
                <c:pt idx="460">
                  <c:v>0.51081720504075312</c:v>
                </c:pt>
                <c:pt idx="461">
                  <c:v>0.50994002457150645</c:v>
                </c:pt>
                <c:pt idx="462">
                  <c:v>0.51237661478915753</c:v>
                </c:pt>
                <c:pt idx="463">
                  <c:v>0.49181131758125463</c:v>
                </c:pt>
                <c:pt idx="464">
                  <c:v>0.48333186205212275</c:v>
                </c:pt>
                <c:pt idx="465">
                  <c:v>0.48274713263210178</c:v>
                </c:pt>
                <c:pt idx="466">
                  <c:v>0.46578806402790884</c:v>
                </c:pt>
                <c:pt idx="467">
                  <c:v>0.45253264940729165</c:v>
                </c:pt>
                <c:pt idx="468">
                  <c:v>0.47884847392313357</c:v>
                </c:pt>
                <c:pt idx="469">
                  <c:v>0.48742549930219292</c:v>
                </c:pt>
                <c:pt idx="470">
                  <c:v>0.50916035566819651</c:v>
                </c:pt>
                <c:pt idx="471">
                  <c:v>0.50594403311819636</c:v>
                </c:pt>
                <c:pt idx="472">
                  <c:v>0.5054567096290794</c:v>
                </c:pt>
                <c:pt idx="473">
                  <c:v>0.5006809493091231</c:v>
                </c:pt>
                <c:pt idx="474">
                  <c:v>0.48840027682854692</c:v>
                </c:pt>
                <c:pt idx="475">
                  <c:v>0.47797150260889221</c:v>
                </c:pt>
                <c:pt idx="476">
                  <c:v>0.48966743009478764</c:v>
                </c:pt>
                <c:pt idx="477">
                  <c:v>0.49298119529303364</c:v>
                </c:pt>
                <c:pt idx="478">
                  <c:v>0.49317617863713914</c:v>
                </c:pt>
                <c:pt idx="479">
                  <c:v>0.49804945773135723</c:v>
                </c:pt>
                <c:pt idx="480">
                  <c:v>0.48888768685776385</c:v>
                </c:pt>
                <c:pt idx="481">
                  <c:v>0.48381951317170002</c:v>
                </c:pt>
                <c:pt idx="482">
                  <c:v>0.49473567656620143</c:v>
                </c:pt>
                <c:pt idx="483">
                  <c:v>0.49015476013822901</c:v>
                </c:pt>
                <c:pt idx="484">
                  <c:v>0.46744524864015058</c:v>
                </c:pt>
                <c:pt idx="485">
                  <c:v>0.46227954787588765</c:v>
                </c:pt>
                <c:pt idx="486">
                  <c:v>0.4705640926543786</c:v>
                </c:pt>
                <c:pt idx="487">
                  <c:v>0.47758162450452524</c:v>
                </c:pt>
                <c:pt idx="488">
                  <c:v>0.48518392972076341</c:v>
                </c:pt>
                <c:pt idx="489">
                  <c:v>0.47563226631355016</c:v>
                </c:pt>
                <c:pt idx="490">
                  <c:v>0.46559324487936582</c:v>
                </c:pt>
                <c:pt idx="491">
                  <c:v>0.45760107179638965</c:v>
                </c:pt>
                <c:pt idx="492">
                  <c:v>0.45175317629634248</c:v>
                </c:pt>
                <c:pt idx="493">
                  <c:v>0.44073959599968782</c:v>
                </c:pt>
                <c:pt idx="494">
                  <c:v>0.45058359336331533</c:v>
                </c:pt>
                <c:pt idx="495">
                  <c:v>0.46276675484725494</c:v>
                </c:pt>
                <c:pt idx="496">
                  <c:v>0.47358552404278065</c:v>
                </c:pt>
                <c:pt idx="497">
                  <c:v>0.46383893466965698</c:v>
                </c:pt>
                <c:pt idx="498">
                  <c:v>0.46841987223181203</c:v>
                </c:pt>
                <c:pt idx="499">
                  <c:v>0.50175315017346134</c:v>
                </c:pt>
                <c:pt idx="500">
                  <c:v>0.53986223881352324</c:v>
                </c:pt>
                <c:pt idx="501">
                  <c:v>0.58235735505938835</c:v>
                </c:pt>
                <c:pt idx="502">
                  <c:v>0.58479402715044437</c:v>
                </c:pt>
                <c:pt idx="503">
                  <c:v>0.58586614030981154</c:v>
                </c:pt>
                <c:pt idx="504">
                  <c:v>0.57650937149536974</c:v>
                </c:pt>
                <c:pt idx="505">
                  <c:v>0.61344887788075231</c:v>
                </c:pt>
                <c:pt idx="506">
                  <c:v>0.61227928878917659</c:v>
                </c:pt>
                <c:pt idx="507">
                  <c:v>0.61227928878917659</c:v>
                </c:pt>
                <c:pt idx="508">
                  <c:v>0.61227928878917659</c:v>
                </c:pt>
              </c:numCache>
            </c:numRef>
          </c:val>
          <c:smooth val="0"/>
          <c:extLst>
            <c:ext xmlns:c16="http://schemas.microsoft.com/office/drawing/2014/chart" uri="{C3380CC4-5D6E-409C-BE32-E72D297353CC}">
              <c16:uniqueId val="{00000002-FEDF-4824-BFB3-214DAB16BA7B}"/>
            </c:ext>
          </c:extLst>
        </c:ser>
        <c:ser>
          <c:idx val="6"/>
          <c:order val="6"/>
          <c:tx>
            <c:strRef>
              <c:f>Chart!$H$4</c:f>
              <c:strCache>
                <c:ptCount val="1"/>
                <c:pt idx="0">
                  <c:v>Dec '87</c:v>
                </c:pt>
              </c:strCache>
            </c:strRef>
          </c:tx>
          <c:spPr>
            <a:ln w="15875" cap="rnd">
              <a:solidFill>
                <a:schemeClr val="accent3"/>
              </a:solidFill>
              <a:round/>
            </a:ln>
            <a:effectLst/>
          </c:spPr>
          <c:marker>
            <c:symbol val="none"/>
          </c:marker>
          <c:cat>
            <c:numRef>
              <c:f>Chart!$A$5:$A$513</c:f>
              <c:numCache>
                <c:formatCode>General</c:formatCode>
                <c:ptCount val="50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pt idx="100">
                  <c:v>101</c:v>
                </c:pt>
                <c:pt idx="101">
                  <c:v>102</c:v>
                </c:pt>
                <c:pt idx="102">
                  <c:v>103</c:v>
                </c:pt>
                <c:pt idx="103">
                  <c:v>104</c:v>
                </c:pt>
                <c:pt idx="104">
                  <c:v>105</c:v>
                </c:pt>
                <c:pt idx="105">
                  <c:v>106</c:v>
                </c:pt>
                <c:pt idx="106">
                  <c:v>107</c:v>
                </c:pt>
                <c:pt idx="107">
                  <c:v>108</c:v>
                </c:pt>
                <c:pt idx="108">
                  <c:v>109</c:v>
                </c:pt>
                <c:pt idx="109">
                  <c:v>110</c:v>
                </c:pt>
                <c:pt idx="110">
                  <c:v>111</c:v>
                </c:pt>
                <c:pt idx="111">
                  <c:v>112</c:v>
                </c:pt>
                <c:pt idx="112">
                  <c:v>113</c:v>
                </c:pt>
                <c:pt idx="113">
                  <c:v>114</c:v>
                </c:pt>
                <c:pt idx="114">
                  <c:v>115</c:v>
                </c:pt>
                <c:pt idx="115">
                  <c:v>116</c:v>
                </c:pt>
                <c:pt idx="116">
                  <c:v>117</c:v>
                </c:pt>
                <c:pt idx="117">
                  <c:v>118</c:v>
                </c:pt>
                <c:pt idx="118">
                  <c:v>119</c:v>
                </c:pt>
                <c:pt idx="119">
                  <c:v>120</c:v>
                </c:pt>
                <c:pt idx="120">
                  <c:v>121</c:v>
                </c:pt>
                <c:pt idx="121">
                  <c:v>122</c:v>
                </c:pt>
                <c:pt idx="122">
                  <c:v>123</c:v>
                </c:pt>
                <c:pt idx="123">
                  <c:v>124</c:v>
                </c:pt>
                <c:pt idx="124">
                  <c:v>125</c:v>
                </c:pt>
                <c:pt idx="125">
                  <c:v>126</c:v>
                </c:pt>
                <c:pt idx="126">
                  <c:v>127</c:v>
                </c:pt>
                <c:pt idx="127">
                  <c:v>128</c:v>
                </c:pt>
                <c:pt idx="128">
                  <c:v>129</c:v>
                </c:pt>
                <c:pt idx="129">
                  <c:v>130</c:v>
                </c:pt>
                <c:pt idx="130">
                  <c:v>131</c:v>
                </c:pt>
                <c:pt idx="131">
                  <c:v>132</c:v>
                </c:pt>
                <c:pt idx="132">
                  <c:v>133</c:v>
                </c:pt>
                <c:pt idx="133">
                  <c:v>134</c:v>
                </c:pt>
                <c:pt idx="134">
                  <c:v>135</c:v>
                </c:pt>
                <c:pt idx="135">
                  <c:v>136</c:v>
                </c:pt>
                <c:pt idx="136">
                  <c:v>137</c:v>
                </c:pt>
                <c:pt idx="137">
                  <c:v>138</c:v>
                </c:pt>
                <c:pt idx="138">
                  <c:v>139</c:v>
                </c:pt>
                <c:pt idx="139">
                  <c:v>140</c:v>
                </c:pt>
                <c:pt idx="140">
                  <c:v>141</c:v>
                </c:pt>
                <c:pt idx="141">
                  <c:v>142</c:v>
                </c:pt>
                <c:pt idx="142">
                  <c:v>143</c:v>
                </c:pt>
                <c:pt idx="143">
                  <c:v>144</c:v>
                </c:pt>
                <c:pt idx="144">
                  <c:v>145</c:v>
                </c:pt>
                <c:pt idx="145">
                  <c:v>146</c:v>
                </c:pt>
                <c:pt idx="146">
                  <c:v>147</c:v>
                </c:pt>
                <c:pt idx="147">
                  <c:v>148</c:v>
                </c:pt>
                <c:pt idx="148">
                  <c:v>149</c:v>
                </c:pt>
                <c:pt idx="149">
                  <c:v>150</c:v>
                </c:pt>
                <c:pt idx="150">
                  <c:v>151</c:v>
                </c:pt>
                <c:pt idx="151">
                  <c:v>152</c:v>
                </c:pt>
                <c:pt idx="152">
                  <c:v>153</c:v>
                </c:pt>
                <c:pt idx="153">
                  <c:v>154</c:v>
                </c:pt>
                <c:pt idx="154">
                  <c:v>155</c:v>
                </c:pt>
                <c:pt idx="155">
                  <c:v>156</c:v>
                </c:pt>
                <c:pt idx="156">
                  <c:v>157</c:v>
                </c:pt>
                <c:pt idx="157">
                  <c:v>158</c:v>
                </c:pt>
                <c:pt idx="158">
                  <c:v>159</c:v>
                </c:pt>
                <c:pt idx="159">
                  <c:v>160</c:v>
                </c:pt>
                <c:pt idx="160">
                  <c:v>161</c:v>
                </c:pt>
                <c:pt idx="161">
                  <c:v>162</c:v>
                </c:pt>
                <c:pt idx="162">
                  <c:v>163</c:v>
                </c:pt>
                <c:pt idx="163">
                  <c:v>164</c:v>
                </c:pt>
                <c:pt idx="164">
                  <c:v>165</c:v>
                </c:pt>
                <c:pt idx="165">
                  <c:v>166</c:v>
                </c:pt>
                <c:pt idx="166">
                  <c:v>167</c:v>
                </c:pt>
                <c:pt idx="167">
                  <c:v>168</c:v>
                </c:pt>
                <c:pt idx="168">
                  <c:v>169</c:v>
                </c:pt>
                <c:pt idx="169">
                  <c:v>170</c:v>
                </c:pt>
                <c:pt idx="170">
                  <c:v>171</c:v>
                </c:pt>
                <c:pt idx="171">
                  <c:v>172</c:v>
                </c:pt>
                <c:pt idx="172">
                  <c:v>173</c:v>
                </c:pt>
                <c:pt idx="173">
                  <c:v>174</c:v>
                </c:pt>
                <c:pt idx="174">
                  <c:v>175</c:v>
                </c:pt>
                <c:pt idx="175">
                  <c:v>176</c:v>
                </c:pt>
                <c:pt idx="176">
                  <c:v>177</c:v>
                </c:pt>
                <c:pt idx="177">
                  <c:v>178</c:v>
                </c:pt>
                <c:pt idx="178">
                  <c:v>179</c:v>
                </c:pt>
                <c:pt idx="179">
                  <c:v>180</c:v>
                </c:pt>
                <c:pt idx="180">
                  <c:v>181</c:v>
                </c:pt>
                <c:pt idx="181">
                  <c:v>182</c:v>
                </c:pt>
                <c:pt idx="182">
                  <c:v>183</c:v>
                </c:pt>
                <c:pt idx="183">
                  <c:v>184</c:v>
                </c:pt>
                <c:pt idx="184">
                  <c:v>185</c:v>
                </c:pt>
                <c:pt idx="185">
                  <c:v>186</c:v>
                </c:pt>
                <c:pt idx="186">
                  <c:v>187</c:v>
                </c:pt>
                <c:pt idx="187">
                  <c:v>188</c:v>
                </c:pt>
                <c:pt idx="188">
                  <c:v>189</c:v>
                </c:pt>
                <c:pt idx="189">
                  <c:v>190</c:v>
                </c:pt>
                <c:pt idx="190">
                  <c:v>191</c:v>
                </c:pt>
                <c:pt idx="191">
                  <c:v>192</c:v>
                </c:pt>
                <c:pt idx="192">
                  <c:v>193</c:v>
                </c:pt>
                <c:pt idx="193">
                  <c:v>194</c:v>
                </c:pt>
                <c:pt idx="194">
                  <c:v>195</c:v>
                </c:pt>
                <c:pt idx="195">
                  <c:v>196</c:v>
                </c:pt>
                <c:pt idx="196">
                  <c:v>197</c:v>
                </c:pt>
                <c:pt idx="197">
                  <c:v>198</c:v>
                </c:pt>
                <c:pt idx="198">
                  <c:v>199</c:v>
                </c:pt>
                <c:pt idx="199">
                  <c:v>200</c:v>
                </c:pt>
                <c:pt idx="200">
                  <c:v>201</c:v>
                </c:pt>
                <c:pt idx="201">
                  <c:v>202</c:v>
                </c:pt>
                <c:pt idx="202">
                  <c:v>203</c:v>
                </c:pt>
                <c:pt idx="203">
                  <c:v>204</c:v>
                </c:pt>
                <c:pt idx="204">
                  <c:v>205</c:v>
                </c:pt>
                <c:pt idx="205">
                  <c:v>206</c:v>
                </c:pt>
                <c:pt idx="206">
                  <c:v>207</c:v>
                </c:pt>
                <c:pt idx="207">
                  <c:v>208</c:v>
                </c:pt>
                <c:pt idx="208">
                  <c:v>209</c:v>
                </c:pt>
                <c:pt idx="209">
                  <c:v>210</c:v>
                </c:pt>
                <c:pt idx="210">
                  <c:v>211</c:v>
                </c:pt>
                <c:pt idx="211">
                  <c:v>212</c:v>
                </c:pt>
                <c:pt idx="212">
                  <c:v>213</c:v>
                </c:pt>
                <c:pt idx="213">
                  <c:v>214</c:v>
                </c:pt>
                <c:pt idx="214">
                  <c:v>215</c:v>
                </c:pt>
                <c:pt idx="215">
                  <c:v>216</c:v>
                </c:pt>
                <c:pt idx="216">
                  <c:v>217</c:v>
                </c:pt>
                <c:pt idx="217">
                  <c:v>218</c:v>
                </c:pt>
                <c:pt idx="218">
                  <c:v>219</c:v>
                </c:pt>
                <c:pt idx="219">
                  <c:v>220</c:v>
                </c:pt>
                <c:pt idx="220">
                  <c:v>221</c:v>
                </c:pt>
                <c:pt idx="221">
                  <c:v>222</c:v>
                </c:pt>
                <c:pt idx="222">
                  <c:v>223</c:v>
                </c:pt>
                <c:pt idx="223">
                  <c:v>224</c:v>
                </c:pt>
                <c:pt idx="224">
                  <c:v>225</c:v>
                </c:pt>
                <c:pt idx="225">
                  <c:v>226</c:v>
                </c:pt>
                <c:pt idx="226">
                  <c:v>227</c:v>
                </c:pt>
                <c:pt idx="227">
                  <c:v>228</c:v>
                </c:pt>
                <c:pt idx="228">
                  <c:v>229</c:v>
                </c:pt>
                <c:pt idx="229">
                  <c:v>230</c:v>
                </c:pt>
                <c:pt idx="230">
                  <c:v>231</c:v>
                </c:pt>
                <c:pt idx="231">
                  <c:v>232</c:v>
                </c:pt>
                <c:pt idx="232">
                  <c:v>233</c:v>
                </c:pt>
                <c:pt idx="233">
                  <c:v>234</c:v>
                </c:pt>
                <c:pt idx="234">
                  <c:v>235</c:v>
                </c:pt>
                <c:pt idx="235">
                  <c:v>236</c:v>
                </c:pt>
                <c:pt idx="236">
                  <c:v>237</c:v>
                </c:pt>
                <c:pt idx="237">
                  <c:v>238</c:v>
                </c:pt>
                <c:pt idx="238">
                  <c:v>239</c:v>
                </c:pt>
                <c:pt idx="239">
                  <c:v>240</c:v>
                </c:pt>
                <c:pt idx="240">
                  <c:v>241</c:v>
                </c:pt>
                <c:pt idx="241">
                  <c:v>242</c:v>
                </c:pt>
                <c:pt idx="242">
                  <c:v>243</c:v>
                </c:pt>
                <c:pt idx="243">
                  <c:v>244</c:v>
                </c:pt>
                <c:pt idx="244">
                  <c:v>245</c:v>
                </c:pt>
                <c:pt idx="245">
                  <c:v>246</c:v>
                </c:pt>
                <c:pt idx="246">
                  <c:v>247</c:v>
                </c:pt>
                <c:pt idx="247">
                  <c:v>248</c:v>
                </c:pt>
                <c:pt idx="248">
                  <c:v>249</c:v>
                </c:pt>
                <c:pt idx="249">
                  <c:v>250</c:v>
                </c:pt>
                <c:pt idx="250">
                  <c:v>251</c:v>
                </c:pt>
                <c:pt idx="251">
                  <c:v>252</c:v>
                </c:pt>
                <c:pt idx="252">
                  <c:v>253</c:v>
                </c:pt>
                <c:pt idx="253">
                  <c:v>254</c:v>
                </c:pt>
                <c:pt idx="254">
                  <c:v>255</c:v>
                </c:pt>
                <c:pt idx="255">
                  <c:v>256</c:v>
                </c:pt>
                <c:pt idx="256">
                  <c:v>257</c:v>
                </c:pt>
                <c:pt idx="257">
                  <c:v>258</c:v>
                </c:pt>
                <c:pt idx="258">
                  <c:v>259</c:v>
                </c:pt>
                <c:pt idx="259">
                  <c:v>260</c:v>
                </c:pt>
                <c:pt idx="260">
                  <c:v>261</c:v>
                </c:pt>
                <c:pt idx="261">
                  <c:v>262</c:v>
                </c:pt>
                <c:pt idx="262">
                  <c:v>263</c:v>
                </c:pt>
                <c:pt idx="263">
                  <c:v>264</c:v>
                </c:pt>
                <c:pt idx="264">
                  <c:v>265</c:v>
                </c:pt>
                <c:pt idx="265">
                  <c:v>266</c:v>
                </c:pt>
                <c:pt idx="266">
                  <c:v>267</c:v>
                </c:pt>
                <c:pt idx="267">
                  <c:v>268</c:v>
                </c:pt>
                <c:pt idx="268">
                  <c:v>269</c:v>
                </c:pt>
                <c:pt idx="269">
                  <c:v>270</c:v>
                </c:pt>
                <c:pt idx="270">
                  <c:v>271</c:v>
                </c:pt>
                <c:pt idx="271">
                  <c:v>272</c:v>
                </c:pt>
                <c:pt idx="272">
                  <c:v>273</c:v>
                </c:pt>
                <c:pt idx="273">
                  <c:v>274</c:v>
                </c:pt>
                <c:pt idx="274">
                  <c:v>275</c:v>
                </c:pt>
                <c:pt idx="275">
                  <c:v>276</c:v>
                </c:pt>
                <c:pt idx="276">
                  <c:v>277</c:v>
                </c:pt>
                <c:pt idx="277">
                  <c:v>278</c:v>
                </c:pt>
                <c:pt idx="278">
                  <c:v>279</c:v>
                </c:pt>
                <c:pt idx="279">
                  <c:v>280</c:v>
                </c:pt>
                <c:pt idx="280">
                  <c:v>281</c:v>
                </c:pt>
                <c:pt idx="281">
                  <c:v>282</c:v>
                </c:pt>
                <c:pt idx="282">
                  <c:v>283</c:v>
                </c:pt>
                <c:pt idx="283">
                  <c:v>284</c:v>
                </c:pt>
                <c:pt idx="284">
                  <c:v>285</c:v>
                </c:pt>
                <c:pt idx="285">
                  <c:v>286</c:v>
                </c:pt>
                <c:pt idx="286">
                  <c:v>287</c:v>
                </c:pt>
                <c:pt idx="287">
                  <c:v>288</c:v>
                </c:pt>
                <c:pt idx="288">
                  <c:v>289</c:v>
                </c:pt>
                <c:pt idx="289">
                  <c:v>290</c:v>
                </c:pt>
                <c:pt idx="290">
                  <c:v>291</c:v>
                </c:pt>
                <c:pt idx="291">
                  <c:v>292</c:v>
                </c:pt>
                <c:pt idx="292">
                  <c:v>293</c:v>
                </c:pt>
                <c:pt idx="293">
                  <c:v>294</c:v>
                </c:pt>
                <c:pt idx="294">
                  <c:v>295</c:v>
                </c:pt>
                <c:pt idx="295">
                  <c:v>296</c:v>
                </c:pt>
                <c:pt idx="296">
                  <c:v>297</c:v>
                </c:pt>
                <c:pt idx="297">
                  <c:v>298</c:v>
                </c:pt>
                <c:pt idx="298">
                  <c:v>299</c:v>
                </c:pt>
                <c:pt idx="299">
                  <c:v>300</c:v>
                </c:pt>
                <c:pt idx="300">
                  <c:v>301</c:v>
                </c:pt>
                <c:pt idx="301">
                  <c:v>302</c:v>
                </c:pt>
                <c:pt idx="302">
                  <c:v>303</c:v>
                </c:pt>
                <c:pt idx="303">
                  <c:v>304</c:v>
                </c:pt>
                <c:pt idx="304">
                  <c:v>305</c:v>
                </c:pt>
                <c:pt idx="305">
                  <c:v>306</c:v>
                </c:pt>
                <c:pt idx="306">
                  <c:v>307</c:v>
                </c:pt>
                <c:pt idx="307">
                  <c:v>308</c:v>
                </c:pt>
                <c:pt idx="308">
                  <c:v>309</c:v>
                </c:pt>
                <c:pt idx="309">
                  <c:v>310</c:v>
                </c:pt>
                <c:pt idx="310">
                  <c:v>311</c:v>
                </c:pt>
                <c:pt idx="311">
                  <c:v>312</c:v>
                </c:pt>
                <c:pt idx="312">
                  <c:v>313</c:v>
                </c:pt>
                <c:pt idx="313">
                  <c:v>314</c:v>
                </c:pt>
                <c:pt idx="314">
                  <c:v>315</c:v>
                </c:pt>
                <c:pt idx="315">
                  <c:v>316</c:v>
                </c:pt>
                <c:pt idx="316">
                  <c:v>317</c:v>
                </c:pt>
                <c:pt idx="317">
                  <c:v>318</c:v>
                </c:pt>
                <c:pt idx="318">
                  <c:v>319</c:v>
                </c:pt>
                <c:pt idx="319">
                  <c:v>320</c:v>
                </c:pt>
                <c:pt idx="320">
                  <c:v>321</c:v>
                </c:pt>
                <c:pt idx="321">
                  <c:v>322</c:v>
                </c:pt>
                <c:pt idx="322">
                  <c:v>323</c:v>
                </c:pt>
                <c:pt idx="323">
                  <c:v>324</c:v>
                </c:pt>
                <c:pt idx="324">
                  <c:v>325</c:v>
                </c:pt>
                <c:pt idx="325">
                  <c:v>326</c:v>
                </c:pt>
                <c:pt idx="326">
                  <c:v>327</c:v>
                </c:pt>
                <c:pt idx="327">
                  <c:v>328</c:v>
                </c:pt>
                <c:pt idx="328">
                  <c:v>329</c:v>
                </c:pt>
                <c:pt idx="329">
                  <c:v>330</c:v>
                </c:pt>
                <c:pt idx="330">
                  <c:v>331</c:v>
                </c:pt>
                <c:pt idx="331">
                  <c:v>332</c:v>
                </c:pt>
                <c:pt idx="332">
                  <c:v>333</c:v>
                </c:pt>
                <c:pt idx="333">
                  <c:v>334</c:v>
                </c:pt>
                <c:pt idx="334">
                  <c:v>335</c:v>
                </c:pt>
                <c:pt idx="335">
                  <c:v>336</c:v>
                </c:pt>
                <c:pt idx="336">
                  <c:v>337</c:v>
                </c:pt>
                <c:pt idx="337">
                  <c:v>338</c:v>
                </c:pt>
                <c:pt idx="338">
                  <c:v>339</c:v>
                </c:pt>
                <c:pt idx="339">
                  <c:v>340</c:v>
                </c:pt>
                <c:pt idx="340">
                  <c:v>341</c:v>
                </c:pt>
                <c:pt idx="341">
                  <c:v>342</c:v>
                </c:pt>
                <c:pt idx="342">
                  <c:v>343</c:v>
                </c:pt>
                <c:pt idx="343">
                  <c:v>344</c:v>
                </c:pt>
                <c:pt idx="344">
                  <c:v>345</c:v>
                </c:pt>
                <c:pt idx="345">
                  <c:v>346</c:v>
                </c:pt>
                <c:pt idx="346">
                  <c:v>347</c:v>
                </c:pt>
                <c:pt idx="347">
                  <c:v>348</c:v>
                </c:pt>
                <c:pt idx="348">
                  <c:v>349</c:v>
                </c:pt>
                <c:pt idx="349">
                  <c:v>350</c:v>
                </c:pt>
                <c:pt idx="350">
                  <c:v>351</c:v>
                </c:pt>
                <c:pt idx="351">
                  <c:v>352</c:v>
                </c:pt>
                <c:pt idx="352">
                  <c:v>353</c:v>
                </c:pt>
                <c:pt idx="353">
                  <c:v>354</c:v>
                </c:pt>
                <c:pt idx="354">
                  <c:v>355</c:v>
                </c:pt>
                <c:pt idx="355">
                  <c:v>356</c:v>
                </c:pt>
                <c:pt idx="356">
                  <c:v>357</c:v>
                </c:pt>
                <c:pt idx="357">
                  <c:v>358</c:v>
                </c:pt>
                <c:pt idx="358">
                  <c:v>359</c:v>
                </c:pt>
                <c:pt idx="359">
                  <c:v>360</c:v>
                </c:pt>
                <c:pt idx="360">
                  <c:v>361</c:v>
                </c:pt>
                <c:pt idx="361">
                  <c:v>362</c:v>
                </c:pt>
                <c:pt idx="362">
                  <c:v>363</c:v>
                </c:pt>
                <c:pt idx="363">
                  <c:v>364</c:v>
                </c:pt>
                <c:pt idx="364">
                  <c:v>365</c:v>
                </c:pt>
                <c:pt idx="365">
                  <c:v>366</c:v>
                </c:pt>
                <c:pt idx="366">
                  <c:v>367</c:v>
                </c:pt>
                <c:pt idx="367">
                  <c:v>368</c:v>
                </c:pt>
                <c:pt idx="368">
                  <c:v>369</c:v>
                </c:pt>
                <c:pt idx="369">
                  <c:v>370</c:v>
                </c:pt>
                <c:pt idx="370">
                  <c:v>371</c:v>
                </c:pt>
                <c:pt idx="371">
                  <c:v>372</c:v>
                </c:pt>
                <c:pt idx="372">
                  <c:v>373</c:v>
                </c:pt>
                <c:pt idx="373">
                  <c:v>374</c:v>
                </c:pt>
                <c:pt idx="374">
                  <c:v>375</c:v>
                </c:pt>
                <c:pt idx="375">
                  <c:v>376</c:v>
                </c:pt>
                <c:pt idx="376">
                  <c:v>377</c:v>
                </c:pt>
                <c:pt idx="377">
                  <c:v>378</c:v>
                </c:pt>
                <c:pt idx="378">
                  <c:v>379</c:v>
                </c:pt>
                <c:pt idx="379">
                  <c:v>380</c:v>
                </c:pt>
                <c:pt idx="380">
                  <c:v>381</c:v>
                </c:pt>
                <c:pt idx="381">
                  <c:v>382</c:v>
                </c:pt>
                <c:pt idx="382">
                  <c:v>383</c:v>
                </c:pt>
                <c:pt idx="383">
                  <c:v>384</c:v>
                </c:pt>
                <c:pt idx="384">
                  <c:v>385</c:v>
                </c:pt>
                <c:pt idx="385">
                  <c:v>386</c:v>
                </c:pt>
                <c:pt idx="386">
                  <c:v>387</c:v>
                </c:pt>
                <c:pt idx="387">
                  <c:v>388</c:v>
                </c:pt>
                <c:pt idx="388">
                  <c:v>389</c:v>
                </c:pt>
                <c:pt idx="389">
                  <c:v>390</c:v>
                </c:pt>
                <c:pt idx="390">
                  <c:v>391</c:v>
                </c:pt>
                <c:pt idx="391">
                  <c:v>392</c:v>
                </c:pt>
                <c:pt idx="392">
                  <c:v>393</c:v>
                </c:pt>
                <c:pt idx="393">
                  <c:v>394</c:v>
                </c:pt>
                <c:pt idx="394">
                  <c:v>395</c:v>
                </c:pt>
                <c:pt idx="395">
                  <c:v>396</c:v>
                </c:pt>
                <c:pt idx="396">
                  <c:v>397</c:v>
                </c:pt>
                <c:pt idx="397">
                  <c:v>398</c:v>
                </c:pt>
                <c:pt idx="398">
                  <c:v>399</c:v>
                </c:pt>
                <c:pt idx="399">
                  <c:v>400</c:v>
                </c:pt>
                <c:pt idx="400">
                  <c:v>401</c:v>
                </c:pt>
                <c:pt idx="401">
                  <c:v>402</c:v>
                </c:pt>
                <c:pt idx="402">
                  <c:v>403</c:v>
                </c:pt>
                <c:pt idx="403">
                  <c:v>404</c:v>
                </c:pt>
                <c:pt idx="404">
                  <c:v>405</c:v>
                </c:pt>
                <c:pt idx="405">
                  <c:v>406</c:v>
                </c:pt>
                <c:pt idx="406">
                  <c:v>407</c:v>
                </c:pt>
                <c:pt idx="407">
                  <c:v>408</c:v>
                </c:pt>
                <c:pt idx="408">
                  <c:v>409</c:v>
                </c:pt>
                <c:pt idx="409">
                  <c:v>410</c:v>
                </c:pt>
                <c:pt idx="410">
                  <c:v>411</c:v>
                </c:pt>
                <c:pt idx="411">
                  <c:v>412</c:v>
                </c:pt>
                <c:pt idx="412">
                  <c:v>413</c:v>
                </c:pt>
                <c:pt idx="413">
                  <c:v>414</c:v>
                </c:pt>
                <c:pt idx="414">
                  <c:v>415</c:v>
                </c:pt>
                <c:pt idx="415">
                  <c:v>416</c:v>
                </c:pt>
                <c:pt idx="416">
                  <c:v>417</c:v>
                </c:pt>
                <c:pt idx="417">
                  <c:v>418</c:v>
                </c:pt>
                <c:pt idx="418">
                  <c:v>419</c:v>
                </c:pt>
                <c:pt idx="419">
                  <c:v>420</c:v>
                </c:pt>
                <c:pt idx="420">
                  <c:v>421</c:v>
                </c:pt>
                <c:pt idx="421">
                  <c:v>422</c:v>
                </c:pt>
                <c:pt idx="422">
                  <c:v>423</c:v>
                </c:pt>
                <c:pt idx="423">
                  <c:v>424</c:v>
                </c:pt>
                <c:pt idx="424">
                  <c:v>425</c:v>
                </c:pt>
                <c:pt idx="425">
                  <c:v>426</c:v>
                </c:pt>
                <c:pt idx="426">
                  <c:v>427</c:v>
                </c:pt>
                <c:pt idx="427">
                  <c:v>428</c:v>
                </c:pt>
                <c:pt idx="428">
                  <c:v>429</c:v>
                </c:pt>
                <c:pt idx="429">
                  <c:v>430</c:v>
                </c:pt>
                <c:pt idx="430">
                  <c:v>431</c:v>
                </c:pt>
                <c:pt idx="431">
                  <c:v>432</c:v>
                </c:pt>
                <c:pt idx="432">
                  <c:v>433</c:v>
                </c:pt>
                <c:pt idx="433">
                  <c:v>434</c:v>
                </c:pt>
                <c:pt idx="434">
                  <c:v>435</c:v>
                </c:pt>
                <c:pt idx="435">
                  <c:v>436</c:v>
                </c:pt>
                <c:pt idx="436">
                  <c:v>437</c:v>
                </c:pt>
                <c:pt idx="437">
                  <c:v>438</c:v>
                </c:pt>
                <c:pt idx="438">
                  <c:v>439</c:v>
                </c:pt>
                <c:pt idx="439">
                  <c:v>440</c:v>
                </c:pt>
                <c:pt idx="440">
                  <c:v>441</c:v>
                </c:pt>
                <c:pt idx="441">
                  <c:v>442</c:v>
                </c:pt>
                <c:pt idx="442">
                  <c:v>443</c:v>
                </c:pt>
                <c:pt idx="443">
                  <c:v>444</c:v>
                </c:pt>
                <c:pt idx="444">
                  <c:v>445</c:v>
                </c:pt>
                <c:pt idx="445">
                  <c:v>446</c:v>
                </c:pt>
                <c:pt idx="446">
                  <c:v>447</c:v>
                </c:pt>
                <c:pt idx="447">
                  <c:v>448</c:v>
                </c:pt>
                <c:pt idx="448">
                  <c:v>449</c:v>
                </c:pt>
                <c:pt idx="449">
                  <c:v>450</c:v>
                </c:pt>
                <c:pt idx="450">
                  <c:v>451</c:v>
                </c:pt>
                <c:pt idx="451">
                  <c:v>452</c:v>
                </c:pt>
                <c:pt idx="452">
                  <c:v>453</c:v>
                </c:pt>
                <c:pt idx="453">
                  <c:v>454</c:v>
                </c:pt>
                <c:pt idx="454">
                  <c:v>455</c:v>
                </c:pt>
                <c:pt idx="455">
                  <c:v>456</c:v>
                </c:pt>
                <c:pt idx="456">
                  <c:v>457</c:v>
                </c:pt>
                <c:pt idx="457">
                  <c:v>458</c:v>
                </c:pt>
                <c:pt idx="458">
                  <c:v>459</c:v>
                </c:pt>
                <c:pt idx="459">
                  <c:v>460</c:v>
                </c:pt>
                <c:pt idx="460">
                  <c:v>461</c:v>
                </c:pt>
                <c:pt idx="461">
                  <c:v>462</c:v>
                </c:pt>
                <c:pt idx="462">
                  <c:v>463</c:v>
                </c:pt>
                <c:pt idx="463">
                  <c:v>464</c:v>
                </c:pt>
                <c:pt idx="464">
                  <c:v>465</c:v>
                </c:pt>
                <c:pt idx="465">
                  <c:v>466</c:v>
                </c:pt>
                <c:pt idx="466">
                  <c:v>467</c:v>
                </c:pt>
                <c:pt idx="467">
                  <c:v>468</c:v>
                </c:pt>
                <c:pt idx="468">
                  <c:v>469</c:v>
                </c:pt>
                <c:pt idx="469">
                  <c:v>470</c:v>
                </c:pt>
                <c:pt idx="470">
                  <c:v>471</c:v>
                </c:pt>
                <c:pt idx="471">
                  <c:v>472</c:v>
                </c:pt>
                <c:pt idx="472">
                  <c:v>473</c:v>
                </c:pt>
                <c:pt idx="473">
                  <c:v>474</c:v>
                </c:pt>
                <c:pt idx="474">
                  <c:v>475</c:v>
                </c:pt>
                <c:pt idx="475">
                  <c:v>476</c:v>
                </c:pt>
                <c:pt idx="476">
                  <c:v>477</c:v>
                </c:pt>
                <c:pt idx="477">
                  <c:v>478</c:v>
                </c:pt>
                <c:pt idx="478">
                  <c:v>479</c:v>
                </c:pt>
                <c:pt idx="479">
                  <c:v>480</c:v>
                </c:pt>
                <c:pt idx="480">
                  <c:v>481</c:v>
                </c:pt>
                <c:pt idx="481">
                  <c:v>482</c:v>
                </c:pt>
                <c:pt idx="482">
                  <c:v>483</c:v>
                </c:pt>
                <c:pt idx="483">
                  <c:v>484</c:v>
                </c:pt>
                <c:pt idx="484">
                  <c:v>485</c:v>
                </c:pt>
                <c:pt idx="485">
                  <c:v>486</c:v>
                </c:pt>
                <c:pt idx="486">
                  <c:v>487</c:v>
                </c:pt>
                <c:pt idx="487">
                  <c:v>488</c:v>
                </c:pt>
                <c:pt idx="488">
                  <c:v>489</c:v>
                </c:pt>
                <c:pt idx="489">
                  <c:v>490</c:v>
                </c:pt>
                <c:pt idx="490">
                  <c:v>491</c:v>
                </c:pt>
                <c:pt idx="491">
                  <c:v>492</c:v>
                </c:pt>
                <c:pt idx="492">
                  <c:v>493</c:v>
                </c:pt>
                <c:pt idx="493">
                  <c:v>494</c:v>
                </c:pt>
                <c:pt idx="494">
                  <c:v>495</c:v>
                </c:pt>
                <c:pt idx="495">
                  <c:v>496</c:v>
                </c:pt>
                <c:pt idx="496">
                  <c:v>497</c:v>
                </c:pt>
                <c:pt idx="497">
                  <c:v>498</c:v>
                </c:pt>
                <c:pt idx="498">
                  <c:v>499</c:v>
                </c:pt>
                <c:pt idx="499">
                  <c:v>500</c:v>
                </c:pt>
                <c:pt idx="500">
                  <c:v>501</c:v>
                </c:pt>
                <c:pt idx="501">
                  <c:v>502</c:v>
                </c:pt>
                <c:pt idx="502">
                  <c:v>503</c:v>
                </c:pt>
                <c:pt idx="503">
                  <c:v>504</c:v>
                </c:pt>
                <c:pt idx="504">
                  <c:v>505</c:v>
                </c:pt>
                <c:pt idx="505">
                  <c:v>506</c:v>
                </c:pt>
                <c:pt idx="506">
                  <c:v>507</c:v>
                </c:pt>
                <c:pt idx="507">
                  <c:v>508</c:v>
                </c:pt>
                <c:pt idx="508">
                  <c:v>509</c:v>
                </c:pt>
              </c:numCache>
            </c:numRef>
          </c:cat>
          <c:val>
            <c:numRef>
              <c:f>Chart!$H$5:$H$513</c:f>
              <c:numCache>
                <c:formatCode>0%</c:formatCode>
                <c:ptCount val="509"/>
                <c:pt idx="0">
                  <c:v>-5.7279999999999996E-3</c:v>
                </c:pt>
                <c:pt idx="1">
                  <c:v>1.5763089852800061E-2</c:v>
                </c:pt>
                <c:pt idx="2">
                  <c:v>4.3070966336711702E-2</c:v>
                </c:pt>
                <c:pt idx="3">
                  <c:v>6.0743404798064615E-2</c:v>
                </c:pt>
                <c:pt idx="4">
                  <c:v>3.7120967396233162E-2</c:v>
                </c:pt>
                <c:pt idx="5">
                  <c:v>4.4891492532352695E-2</c:v>
                </c:pt>
                <c:pt idx="6">
                  <c:v>7.5396368232789834E-2</c:v>
                </c:pt>
                <c:pt idx="7">
                  <c:v>7.810496906545783E-2</c:v>
                </c:pt>
                <c:pt idx="8">
                  <c:v>0.10154976315424591</c:v>
                </c:pt>
                <c:pt idx="9">
                  <c:v>7.8904213278297108E-2</c:v>
                </c:pt>
                <c:pt idx="10">
                  <c:v>0.10634527881966016</c:v>
                </c:pt>
                <c:pt idx="11">
                  <c:v>0.10803256600438815</c:v>
                </c:pt>
                <c:pt idx="12">
                  <c:v>0.10985306351033342</c:v>
                </c:pt>
                <c:pt idx="13">
                  <c:v>0.12410646246377111</c:v>
                </c:pt>
                <c:pt idx="14">
                  <c:v>0.11904449865265043</c:v>
                </c:pt>
                <c:pt idx="15">
                  <c:v>9.040456898973348E-2</c:v>
                </c:pt>
                <c:pt idx="16">
                  <c:v>8.6053091476266053E-2</c:v>
                </c:pt>
                <c:pt idx="17">
                  <c:v>0.1005728610721397</c:v>
                </c:pt>
                <c:pt idx="18">
                  <c:v>9.7109468335631943E-2</c:v>
                </c:pt>
                <c:pt idx="19">
                  <c:v>0.13645049733878567</c:v>
                </c:pt>
                <c:pt idx="20">
                  <c:v>0.14839493300096551</c:v>
                </c:pt>
                <c:pt idx="21">
                  <c:v>0.14954941442711145</c:v>
                </c:pt>
                <c:pt idx="22">
                  <c:v>0.15922931022623632</c:v>
                </c:pt>
                <c:pt idx="23">
                  <c:v>8.076919282219408E-2</c:v>
                </c:pt>
                <c:pt idx="24">
                  <c:v>9.8930006030701234E-2</c:v>
                </c:pt>
                <c:pt idx="25">
                  <c:v>8.9738555460260327E-2</c:v>
                </c:pt>
                <c:pt idx="26">
                  <c:v>9.1470258998742171E-2</c:v>
                </c:pt>
                <c:pt idx="27">
                  <c:v>9.1781109728505061E-2</c:v>
                </c:pt>
                <c:pt idx="28">
                  <c:v>0.11917771900547747</c:v>
                </c:pt>
                <c:pt idx="29">
                  <c:v>0.1184228336340083</c:v>
                </c:pt>
                <c:pt idx="30">
                  <c:v>0.10705563132208562</c:v>
                </c:pt>
                <c:pt idx="31">
                  <c:v>7.7350007566820089E-2</c:v>
                </c:pt>
                <c:pt idx="32">
                  <c:v>7.9614597282725574E-2</c:v>
                </c:pt>
                <c:pt idx="33">
                  <c:v>9.4534007325494995E-2</c:v>
                </c:pt>
                <c:pt idx="34">
                  <c:v>0.11971047856199601</c:v>
                </c:pt>
                <c:pt idx="35">
                  <c:v>0.10816570367278255</c:v>
                </c:pt>
                <c:pt idx="36">
                  <c:v>0.10732205712257659</c:v>
                </c:pt>
                <c:pt idx="37">
                  <c:v>0.12468364892399575</c:v>
                </c:pt>
                <c:pt idx="38">
                  <c:v>0.14146797782707776</c:v>
                </c:pt>
                <c:pt idx="39">
                  <c:v>0.1324541476465706</c:v>
                </c:pt>
                <c:pt idx="40">
                  <c:v>0.13480750061079494</c:v>
                </c:pt>
                <c:pt idx="41">
                  <c:v>0.11988807291951487</c:v>
                </c:pt>
                <c:pt idx="42">
                  <c:v>0.11988807291951487</c:v>
                </c:pt>
                <c:pt idx="43">
                  <c:v>0.11433768365251118</c:v>
                </c:pt>
                <c:pt idx="44">
                  <c:v>0.10607876991012066</c:v>
                </c:pt>
                <c:pt idx="45">
                  <c:v>0.11771239580415838</c:v>
                </c:pt>
                <c:pt idx="46">
                  <c:v>0.13964750157181505</c:v>
                </c:pt>
                <c:pt idx="47">
                  <c:v>0.13649489468821696</c:v>
                </c:pt>
                <c:pt idx="48">
                  <c:v>0.14395461987797131</c:v>
                </c:pt>
                <c:pt idx="49">
                  <c:v>0.15372330595895733</c:v>
                </c:pt>
                <c:pt idx="50">
                  <c:v>0.15097029140627805</c:v>
                </c:pt>
                <c:pt idx="51">
                  <c:v>0.14519794520081719</c:v>
                </c:pt>
                <c:pt idx="52">
                  <c:v>0.16162706944246263</c:v>
                </c:pt>
                <c:pt idx="53">
                  <c:v>0.17952146979639605</c:v>
                </c:pt>
                <c:pt idx="54">
                  <c:v>0.1767684666858913</c:v>
                </c:pt>
                <c:pt idx="55">
                  <c:v>0.17414874472535513</c:v>
                </c:pt>
                <c:pt idx="56">
                  <c:v>0.16149388696957967</c:v>
                </c:pt>
                <c:pt idx="57">
                  <c:v>0.16540138470412269</c:v>
                </c:pt>
                <c:pt idx="58">
                  <c:v>0.18920144486282719</c:v>
                </c:pt>
                <c:pt idx="59">
                  <c:v>0.18653727686590105</c:v>
                </c:pt>
                <c:pt idx="60">
                  <c:v>0.18991190753503528</c:v>
                </c:pt>
                <c:pt idx="61">
                  <c:v>0.18946783241114318</c:v>
                </c:pt>
                <c:pt idx="62">
                  <c:v>0.18689251560718967</c:v>
                </c:pt>
                <c:pt idx="63">
                  <c:v>0.18724775253711101</c:v>
                </c:pt>
                <c:pt idx="64">
                  <c:v>0.19635038105581315</c:v>
                </c:pt>
                <c:pt idx="65">
                  <c:v>0.19470743307750915</c:v>
                </c:pt>
                <c:pt idx="66">
                  <c:v>0.17152903363911554</c:v>
                </c:pt>
                <c:pt idx="67">
                  <c:v>0.17641337248616362</c:v>
                </c:pt>
                <c:pt idx="68">
                  <c:v>0.18276294602282062</c:v>
                </c:pt>
                <c:pt idx="69">
                  <c:v>0.18169727660845392</c:v>
                </c:pt>
                <c:pt idx="70">
                  <c:v>0.19288688629038697</c:v>
                </c:pt>
                <c:pt idx="71">
                  <c:v>0.20429851939939536</c:v>
                </c:pt>
                <c:pt idx="72">
                  <c:v>0.2038544945352927</c:v>
                </c:pt>
                <c:pt idx="73">
                  <c:v>0.19328657824046402</c:v>
                </c:pt>
                <c:pt idx="74">
                  <c:v>0.19373060017622734</c:v>
                </c:pt>
                <c:pt idx="75">
                  <c:v>0.19404144762451314</c:v>
                </c:pt>
                <c:pt idx="76">
                  <c:v>0.16935332724928398</c:v>
                </c:pt>
                <c:pt idx="77">
                  <c:v>0.14786225018910026</c:v>
                </c:pt>
                <c:pt idx="78">
                  <c:v>0.14586416637019606</c:v>
                </c:pt>
                <c:pt idx="79">
                  <c:v>0.15478918777563688</c:v>
                </c:pt>
                <c:pt idx="80">
                  <c:v>0.14590862796380466</c:v>
                </c:pt>
                <c:pt idx="81">
                  <c:v>0.14954963803829679</c:v>
                </c:pt>
                <c:pt idx="82">
                  <c:v>0.14196893295025337</c:v>
                </c:pt>
                <c:pt idx="83">
                  <c:v>0.15276031097284681</c:v>
                </c:pt>
                <c:pt idx="84">
                  <c:v>0.18388587685339353</c:v>
                </c:pt>
                <c:pt idx="85">
                  <c:v>0.18687353125222073</c:v>
                </c:pt>
                <c:pt idx="86">
                  <c:v>0.20145522208247924</c:v>
                </c:pt>
                <c:pt idx="87">
                  <c:v>0.20471044486118961</c:v>
                </c:pt>
                <c:pt idx="88">
                  <c:v>0.21010610200163393</c:v>
                </c:pt>
                <c:pt idx="89">
                  <c:v>0.21099795019880907</c:v>
                </c:pt>
                <c:pt idx="90">
                  <c:v>0.15828962771579103</c:v>
                </c:pt>
                <c:pt idx="91">
                  <c:v>0.15837881601712533</c:v>
                </c:pt>
                <c:pt idx="92">
                  <c:v>0.15588158296555554</c:v>
                </c:pt>
                <c:pt idx="93">
                  <c:v>0.15012910709161087</c:v>
                </c:pt>
                <c:pt idx="94">
                  <c:v>0.14214709607548448</c:v>
                </c:pt>
                <c:pt idx="95">
                  <c:v>0.14344023501766112</c:v>
                </c:pt>
                <c:pt idx="96">
                  <c:v>0.16002857988315644</c:v>
                </c:pt>
                <c:pt idx="97">
                  <c:v>0.17037406276712841</c:v>
                </c:pt>
                <c:pt idx="98">
                  <c:v>0.17692921085528068</c:v>
                </c:pt>
                <c:pt idx="99">
                  <c:v>0.17634945552601344</c:v>
                </c:pt>
                <c:pt idx="100">
                  <c:v>0.17104294313213564</c:v>
                </c:pt>
                <c:pt idx="101">
                  <c:v>0.16533516272301529</c:v>
                </c:pt>
                <c:pt idx="102">
                  <c:v>0.16636077419972795</c:v>
                </c:pt>
                <c:pt idx="103">
                  <c:v>0.17278205680600722</c:v>
                </c:pt>
                <c:pt idx="104">
                  <c:v>0.16083129036894839</c:v>
                </c:pt>
                <c:pt idx="105">
                  <c:v>0.15400862054293385</c:v>
                </c:pt>
                <c:pt idx="106">
                  <c:v>0.14816702890574551</c:v>
                </c:pt>
                <c:pt idx="107">
                  <c:v>0.14397530071661646</c:v>
                </c:pt>
                <c:pt idx="108">
                  <c:v>0.14879132233510339</c:v>
                </c:pt>
                <c:pt idx="109">
                  <c:v>0.12957192863330502</c:v>
                </c:pt>
                <c:pt idx="110">
                  <c:v>0.13197995007076546</c:v>
                </c:pt>
                <c:pt idx="111">
                  <c:v>0.14504548905047221</c:v>
                </c:pt>
                <c:pt idx="112">
                  <c:v>0.1536518799552733</c:v>
                </c:pt>
                <c:pt idx="113">
                  <c:v>0.13884718074499514</c:v>
                </c:pt>
                <c:pt idx="114">
                  <c:v>0.12083187107750826</c:v>
                </c:pt>
                <c:pt idx="115">
                  <c:v>0.12627216481334425</c:v>
                </c:pt>
                <c:pt idx="116">
                  <c:v>0.12827884392939226</c:v>
                </c:pt>
                <c:pt idx="117">
                  <c:v>0.11851313922364581</c:v>
                </c:pt>
                <c:pt idx="118">
                  <c:v>0.13046389285968085</c:v>
                </c:pt>
                <c:pt idx="119">
                  <c:v>0.13157875635081906</c:v>
                </c:pt>
                <c:pt idx="120">
                  <c:v>0.13545826095909219</c:v>
                </c:pt>
                <c:pt idx="121">
                  <c:v>0.13006256330301458</c:v>
                </c:pt>
                <c:pt idx="122">
                  <c:v>0.16903638699872148</c:v>
                </c:pt>
                <c:pt idx="123">
                  <c:v>0.18923675124786565</c:v>
                </c:pt>
                <c:pt idx="124">
                  <c:v>0.18317211951120216</c:v>
                </c:pt>
                <c:pt idx="125">
                  <c:v>0.18816652566208281</c:v>
                </c:pt>
                <c:pt idx="126">
                  <c:v>0.19084203904456865</c:v>
                </c:pt>
                <c:pt idx="127">
                  <c:v>0.18245863017389885</c:v>
                </c:pt>
                <c:pt idx="128">
                  <c:v>0.21077484874481023</c:v>
                </c:pt>
                <c:pt idx="129">
                  <c:v>0.20488866681763729</c:v>
                </c:pt>
                <c:pt idx="130">
                  <c:v>0.20961544505756269</c:v>
                </c:pt>
                <c:pt idx="131">
                  <c:v>0.21037351105698021</c:v>
                </c:pt>
                <c:pt idx="132">
                  <c:v>0.22317151641349242</c:v>
                </c:pt>
                <c:pt idx="133">
                  <c:v>0.22384034659866736</c:v>
                </c:pt>
                <c:pt idx="134">
                  <c:v>0.20297105385636294</c:v>
                </c:pt>
                <c:pt idx="135">
                  <c:v>0.2070289158152312</c:v>
                </c:pt>
                <c:pt idx="136">
                  <c:v>0.19926977183569616</c:v>
                </c:pt>
                <c:pt idx="137">
                  <c:v>0.21144355928960024</c:v>
                </c:pt>
                <c:pt idx="138">
                  <c:v>0.22923590970053076</c:v>
                </c:pt>
                <c:pt idx="139">
                  <c:v>0.22549018203649118</c:v>
                </c:pt>
                <c:pt idx="140">
                  <c:v>0.22085255954061056</c:v>
                </c:pt>
                <c:pt idx="141">
                  <c:v>0.19980493932887455</c:v>
                </c:pt>
                <c:pt idx="142">
                  <c:v>0.21429750317152196</c:v>
                </c:pt>
                <c:pt idx="143">
                  <c:v>0.20836675273628202</c:v>
                </c:pt>
                <c:pt idx="144">
                  <c:v>0.21960408019002853</c:v>
                </c:pt>
                <c:pt idx="145">
                  <c:v>0.21193423405052947</c:v>
                </c:pt>
                <c:pt idx="146">
                  <c:v>0.22990503725987743</c:v>
                </c:pt>
                <c:pt idx="147">
                  <c:v>0.21300454317137829</c:v>
                </c:pt>
                <c:pt idx="148">
                  <c:v>0.21193430926293821</c:v>
                </c:pt>
                <c:pt idx="149">
                  <c:v>0.20408606506301319</c:v>
                </c:pt>
                <c:pt idx="150">
                  <c:v>0.20644944519151887</c:v>
                </c:pt>
                <c:pt idx="151">
                  <c:v>0.19440944166334106</c:v>
                </c:pt>
                <c:pt idx="152">
                  <c:v>0.20096448012013357</c:v>
                </c:pt>
                <c:pt idx="153">
                  <c:v>0.20515620644509691</c:v>
                </c:pt>
                <c:pt idx="154">
                  <c:v>0.21313831754724477</c:v>
                </c:pt>
                <c:pt idx="155">
                  <c:v>0.20627110547310523</c:v>
                </c:pt>
                <c:pt idx="156">
                  <c:v>0.19717425318540083</c:v>
                </c:pt>
                <c:pt idx="157">
                  <c:v>0.20399694925430434</c:v>
                </c:pt>
                <c:pt idx="158">
                  <c:v>0.18910302539324886</c:v>
                </c:pt>
                <c:pt idx="159">
                  <c:v>0.17501179781143117</c:v>
                </c:pt>
                <c:pt idx="160">
                  <c:v>0.18027373564439042</c:v>
                </c:pt>
                <c:pt idx="161">
                  <c:v>0.18254800510560365</c:v>
                </c:pt>
                <c:pt idx="162">
                  <c:v>0.17055259290621394</c:v>
                </c:pt>
                <c:pt idx="163">
                  <c:v>0.18624911790078991</c:v>
                </c:pt>
                <c:pt idx="164">
                  <c:v>0.21300461088030676</c:v>
                </c:pt>
                <c:pt idx="165">
                  <c:v>0.21385189460100662</c:v>
                </c:pt>
                <c:pt idx="166">
                  <c:v>0.21318306220708161</c:v>
                </c:pt>
                <c:pt idx="167">
                  <c:v>0.21728556205024097</c:v>
                </c:pt>
                <c:pt idx="168">
                  <c:v>0.21260339486437085</c:v>
                </c:pt>
                <c:pt idx="169">
                  <c:v>0.20912516328654185</c:v>
                </c:pt>
                <c:pt idx="170">
                  <c:v>0.20390778820696043</c:v>
                </c:pt>
                <c:pt idx="171">
                  <c:v>0.18834499261958793</c:v>
                </c:pt>
                <c:pt idx="172">
                  <c:v>0.16787705730120739</c:v>
                </c:pt>
                <c:pt idx="173">
                  <c:v>0.17166740229067856</c:v>
                </c:pt>
                <c:pt idx="174">
                  <c:v>0.17077552906405491</c:v>
                </c:pt>
                <c:pt idx="175">
                  <c:v>0.15356278723575523</c:v>
                </c:pt>
                <c:pt idx="176">
                  <c:v>0.16190154655584621</c:v>
                </c:pt>
                <c:pt idx="177">
                  <c:v>0.16283803920237028</c:v>
                </c:pt>
                <c:pt idx="178">
                  <c:v>0.16399738872745484</c:v>
                </c:pt>
                <c:pt idx="179">
                  <c:v>0.16047455063047122</c:v>
                </c:pt>
                <c:pt idx="180">
                  <c:v>0.14593740198217842</c:v>
                </c:pt>
                <c:pt idx="181">
                  <c:v>0.14642786319022694</c:v>
                </c:pt>
                <c:pt idx="182">
                  <c:v>0.16444317456075708</c:v>
                </c:pt>
                <c:pt idx="183">
                  <c:v>0.15574769515472475</c:v>
                </c:pt>
                <c:pt idx="184">
                  <c:v>0.15797736360821713</c:v>
                </c:pt>
                <c:pt idx="185">
                  <c:v>0.16979440680610258</c:v>
                </c:pt>
                <c:pt idx="186">
                  <c:v>0.17059711972805292</c:v>
                </c:pt>
                <c:pt idx="187">
                  <c:v>0.16618244681042249</c:v>
                </c:pt>
                <c:pt idx="188">
                  <c:v>0.15204668289965473</c:v>
                </c:pt>
                <c:pt idx="189">
                  <c:v>0.17938187056815624</c:v>
                </c:pt>
                <c:pt idx="190">
                  <c:v>0.18433161834074374</c:v>
                </c:pt>
                <c:pt idx="191">
                  <c:v>0.18558025916596055</c:v>
                </c:pt>
                <c:pt idx="192">
                  <c:v>0.18562483698370524</c:v>
                </c:pt>
                <c:pt idx="193">
                  <c:v>0.18990577258260233</c:v>
                </c:pt>
                <c:pt idx="194">
                  <c:v>0.18825584923833927</c:v>
                </c:pt>
                <c:pt idx="195">
                  <c:v>0.19253677858639029</c:v>
                </c:pt>
                <c:pt idx="196">
                  <c:v>0.2009201928861748</c:v>
                </c:pt>
                <c:pt idx="197">
                  <c:v>0.19565824096902484</c:v>
                </c:pt>
                <c:pt idx="198">
                  <c:v>0.20689551538094819</c:v>
                </c:pt>
                <c:pt idx="199">
                  <c:v>0.19873509135370004</c:v>
                </c:pt>
                <c:pt idx="200">
                  <c:v>0.2027930493849508</c:v>
                </c:pt>
                <c:pt idx="201">
                  <c:v>0.2047105420642803</c:v>
                </c:pt>
                <c:pt idx="202">
                  <c:v>0.20034045457294214</c:v>
                </c:pt>
                <c:pt idx="203">
                  <c:v>0.20292682815041041</c:v>
                </c:pt>
                <c:pt idx="204">
                  <c:v>0.19900264025161807</c:v>
                </c:pt>
                <c:pt idx="205">
                  <c:v>0.196237860063462</c:v>
                </c:pt>
                <c:pt idx="206">
                  <c:v>0.1998944003303178</c:v>
                </c:pt>
                <c:pt idx="207">
                  <c:v>0.21554630284598675</c:v>
                </c:pt>
                <c:pt idx="208">
                  <c:v>0.21251400103890705</c:v>
                </c:pt>
                <c:pt idx="209">
                  <c:v>0.21015056874808202</c:v>
                </c:pt>
                <c:pt idx="210">
                  <c:v>0.20676154208030306</c:v>
                </c:pt>
                <c:pt idx="211">
                  <c:v>0.21229104414226918</c:v>
                </c:pt>
                <c:pt idx="212">
                  <c:v>0.21465440553282455</c:v>
                </c:pt>
                <c:pt idx="213">
                  <c:v>0.23998298652419781</c:v>
                </c:pt>
                <c:pt idx="214">
                  <c:v>0.24074111212215854</c:v>
                </c:pt>
                <c:pt idx="215">
                  <c:v>0.23935880244914332</c:v>
                </c:pt>
                <c:pt idx="216">
                  <c:v>0.22174478727697555</c:v>
                </c:pt>
                <c:pt idx="217">
                  <c:v>0.22727428200971245</c:v>
                </c:pt>
                <c:pt idx="218">
                  <c:v>0.22852291086422927</c:v>
                </c:pt>
                <c:pt idx="219">
                  <c:v>0.23258084489110487</c:v>
                </c:pt>
                <c:pt idx="220">
                  <c:v>0.2458248028113752</c:v>
                </c:pt>
                <c:pt idx="221">
                  <c:v>0.23507806889736371</c:v>
                </c:pt>
                <c:pt idx="222">
                  <c:v>0.26143228823930253</c:v>
                </c:pt>
                <c:pt idx="223">
                  <c:v>0.26491056163089355</c:v>
                </c:pt>
                <c:pt idx="224">
                  <c:v>0.25875677174855927</c:v>
                </c:pt>
                <c:pt idx="225">
                  <c:v>0.25920274927278975</c:v>
                </c:pt>
                <c:pt idx="226">
                  <c:v>0.25474353457679011</c:v>
                </c:pt>
                <c:pt idx="227">
                  <c:v>0.23646066653447173</c:v>
                </c:pt>
                <c:pt idx="228">
                  <c:v>0.2420347548652757</c:v>
                </c:pt>
                <c:pt idx="229">
                  <c:v>0.24399679716753631</c:v>
                </c:pt>
                <c:pt idx="230">
                  <c:v>0.24439811053430271</c:v>
                </c:pt>
                <c:pt idx="231">
                  <c:v>0.24439811053430271</c:v>
                </c:pt>
                <c:pt idx="232">
                  <c:v>0.24502242506635774</c:v>
                </c:pt>
                <c:pt idx="233">
                  <c:v>0.23213519794449589</c:v>
                </c:pt>
                <c:pt idx="234">
                  <c:v>0.22152220141700085</c:v>
                </c:pt>
                <c:pt idx="235">
                  <c:v>0.22696249484545183</c:v>
                </c:pt>
                <c:pt idx="236">
                  <c:v>0.21884662872704697</c:v>
                </c:pt>
                <c:pt idx="237">
                  <c:v>0.22045197162174346</c:v>
                </c:pt>
                <c:pt idx="238">
                  <c:v>0.1947221590656194</c:v>
                </c:pt>
                <c:pt idx="239">
                  <c:v>0.19383029897387694</c:v>
                </c:pt>
                <c:pt idx="240">
                  <c:v>0.19659509056327051</c:v>
                </c:pt>
                <c:pt idx="241">
                  <c:v>0.17643928387929564</c:v>
                </c:pt>
                <c:pt idx="242">
                  <c:v>0.17991754426601325</c:v>
                </c:pt>
                <c:pt idx="243">
                  <c:v>0.18825637552660468</c:v>
                </c:pt>
                <c:pt idx="244">
                  <c:v>0.18714155339508554</c:v>
                </c:pt>
                <c:pt idx="245">
                  <c:v>0.19155617668969582</c:v>
                </c:pt>
                <c:pt idx="246">
                  <c:v>0.19953829236172238</c:v>
                </c:pt>
                <c:pt idx="247">
                  <c:v>0.19164545035181146</c:v>
                </c:pt>
                <c:pt idx="248">
                  <c:v>0.19793304840604775</c:v>
                </c:pt>
                <c:pt idx="249">
                  <c:v>0.20805558266507895</c:v>
                </c:pt>
                <c:pt idx="250">
                  <c:v>0.2204968638887137</c:v>
                </c:pt>
                <c:pt idx="251">
                  <c:v>0.21510116930314815</c:v>
                </c:pt>
                <c:pt idx="252">
                  <c:v>0.21206888433515214</c:v>
                </c:pt>
                <c:pt idx="253">
                  <c:v>0.22598173823088152</c:v>
                </c:pt>
                <c:pt idx="254">
                  <c:v>0.23784335674461299</c:v>
                </c:pt>
                <c:pt idx="255">
                  <c:v>0.24025133342648841</c:v>
                </c:pt>
                <c:pt idx="256">
                  <c:v>0.23329488772243256</c:v>
                </c:pt>
                <c:pt idx="257">
                  <c:v>0.23534610377969267</c:v>
                </c:pt>
                <c:pt idx="258">
                  <c:v>0.23307183160263434</c:v>
                </c:pt>
                <c:pt idx="259">
                  <c:v>0.2321354368537154</c:v>
                </c:pt>
                <c:pt idx="260">
                  <c:v>0.22767621549419803</c:v>
                </c:pt>
                <c:pt idx="261">
                  <c:v>0.22308323323679113</c:v>
                </c:pt>
                <c:pt idx="262">
                  <c:v>0.23204635409492025</c:v>
                </c:pt>
                <c:pt idx="263">
                  <c:v>0.24372960326153148</c:v>
                </c:pt>
                <c:pt idx="264">
                  <c:v>0.2373082273198921</c:v>
                </c:pt>
                <c:pt idx="265">
                  <c:v>0.23690684453094946</c:v>
                </c:pt>
                <c:pt idx="266">
                  <c:v>0.23463266760659485</c:v>
                </c:pt>
                <c:pt idx="267">
                  <c:v>0.23909191387545636</c:v>
                </c:pt>
                <c:pt idx="268">
                  <c:v>0.23445424066020326</c:v>
                </c:pt>
                <c:pt idx="269">
                  <c:v>0.23556907628494339</c:v>
                </c:pt>
                <c:pt idx="270">
                  <c:v>0.24591449616067718</c:v>
                </c:pt>
                <c:pt idx="271">
                  <c:v>0.23842293688671257</c:v>
                </c:pt>
                <c:pt idx="272">
                  <c:v>0.22767615032499711</c:v>
                </c:pt>
                <c:pt idx="273">
                  <c:v>0.24604820114699577</c:v>
                </c:pt>
                <c:pt idx="274">
                  <c:v>0.24863462339811671</c:v>
                </c:pt>
                <c:pt idx="275">
                  <c:v>0.2515777800689285</c:v>
                </c:pt>
                <c:pt idx="276">
                  <c:v>0.25296014772701469</c:v>
                </c:pt>
                <c:pt idx="277">
                  <c:v>0.25028457662755832</c:v>
                </c:pt>
                <c:pt idx="278">
                  <c:v>0.25755310601378256</c:v>
                </c:pt>
                <c:pt idx="279">
                  <c:v>0.26272579920474914</c:v>
                </c:pt>
                <c:pt idx="280">
                  <c:v>0.26584725738038339</c:v>
                </c:pt>
                <c:pt idx="281">
                  <c:v>0.26705120470687782</c:v>
                </c:pt>
                <c:pt idx="282">
                  <c:v>0.26442029958542457</c:v>
                </c:pt>
                <c:pt idx="283">
                  <c:v>0.27770885116594757</c:v>
                </c:pt>
                <c:pt idx="284">
                  <c:v>0.27935875660545828</c:v>
                </c:pt>
                <c:pt idx="285">
                  <c:v>0.27815475207961682</c:v>
                </c:pt>
                <c:pt idx="286">
                  <c:v>0.26865652848596278</c:v>
                </c:pt>
                <c:pt idx="287">
                  <c:v>0.28644892883536688</c:v>
                </c:pt>
                <c:pt idx="288">
                  <c:v>0.28934742691692561</c:v>
                </c:pt>
                <c:pt idx="289">
                  <c:v>0.30071856867913427</c:v>
                </c:pt>
                <c:pt idx="290">
                  <c:v>0.3102168058832</c:v>
                </c:pt>
                <c:pt idx="291">
                  <c:v>0.31543408920422689</c:v>
                </c:pt>
                <c:pt idx="292">
                  <c:v>0.32649307513557568</c:v>
                </c:pt>
                <c:pt idx="293">
                  <c:v>0.32479861288139755</c:v>
                </c:pt>
                <c:pt idx="294">
                  <c:v>0.32368379484865772</c:v>
                </c:pt>
                <c:pt idx="295">
                  <c:v>0.32426343598242213</c:v>
                </c:pt>
                <c:pt idx="296">
                  <c:v>0.32011637260629966</c:v>
                </c:pt>
                <c:pt idx="297">
                  <c:v>0.3361250278219845</c:v>
                </c:pt>
                <c:pt idx="298">
                  <c:v>0.33175496369348711</c:v>
                </c:pt>
                <c:pt idx="299">
                  <c:v>0.32020545194635175</c:v>
                </c:pt>
                <c:pt idx="300">
                  <c:v>0.30219006036963703</c:v>
                </c:pt>
                <c:pt idx="301">
                  <c:v>0.30450887021013728</c:v>
                </c:pt>
                <c:pt idx="302">
                  <c:v>0.3012535987754148</c:v>
                </c:pt>
                <c:pt idx="303">
                  <c:v>0.3120895278684972</c:v>
                </c:pt>
                <c:pt idx="304">
                  <c:v>0.31463130770188408</c:v>
                </c:pt>
                <c:pt idx="305">
                  <c:v>0.32332680502354738</c:v>
                </c:pt>
                <c:pt idx="306">
                  <c:v>0.31984857284922352</c:v>
                </c:pt>
                <c:pt idx="307">
                  <c:v>0.29724022672060268</c:v>
                </c:pt>
                <c:pt idx="308">
                  <c:v>0.30232372199705271</c:v>
                </c:pt>
                <c:pt idx="309">
                  <c:v>0.28038425564680147</c:v>
                </c:pt>
                <c:pt idx="310">
                  <c:v>0.28346114705154624</c:v>
                </c:pt>
                <c:pt idx="311">
                  <c:v>0.28809880556030243</c:v>
                </c:pt>
                <c:pt idx="312">
                  <c:v>0.28029511656657657</c:v>
                </c:pt>
                <c:pt idx="313">
                  <c:v>0.29295941177111828</c:v>
                </c:pt>
                <c:pt idx="314">
                  <c:v>0.29844427489179237</c:v>
                </c:pt>
                <c:pt idx="315">
                  <c:v>0.31463133044473079</c:v>
                </c:pt>
                <c:pt idx="316">
                  <c:v>0.31043962844760764</c:v>
                </c:pt>
                <c:pt idx="317">
                  <c:v>0.31137606860609623</c:v>
                </c:pt>
                <c:pt idx="318">
                  <c:v>0.31070713567350028</c:v>
                </c:pt>
                <c:pt idx="319">
                  <c:v>0.30602489657273391</c:v>
                </c:pt>
                <c:pt idx="320">
                  <c:v>0.31690552058857091</c:v>
                </c:pt>
                <c:pt idx="321">
                  <c:v>0.31610286667377219</c:v>
                </c:pt>
                <c:pt idx="322">
                  <c:v>0.32292554393460904</c:v>
                </c:pt>
                <c:pt idx="323">
                  <c:v>0.33527769973832644</c:v>
                </c:pt>
                <c:pt idx="324">
                  <c:v>0.305177736303055</c:v>
                </c:pt>
                <c:pt idx="325">
                  <c:v>0.29282566472445648</c:v>
                </c:pt>
                <c:pt idx="326">
                  <c:v>0.29911319306227746</c:v>
                </c:pt>
                <c:pt idx="327">
                  <c:v>0.29536745999272096</c:v>
                </c:pt>
                <c:pt idx="328">
                  <c:v>0.28863401039893288</c:v>
                </c:pt>
                <c:pt idx="329">
                  <c:v>0.2957242035875487</c:v>
                </c:pt>
                <c:pt idx="330">
                  <c:v>0.30027258425940206</c:v>
                </c:pt>
                <c:pt idx="331">
                  <c:v>0.30366161472301556</c:v>
                </c:pt>
                <c:pt idx="332">
                  <c:v>0.30441969395197699</c:v>
                </c:pt>
                <c:pt idx="333">
                  <c:v>0.31489888000530963</c:v>
                </c:pt>
                <c:pt idx="334">
                  <c:v>0.32167692075196097</c:v>
                </c:pt>
                <c:pt idx="335">
                  <c:v>0.31686099438812509</c:v>
                </c:pt>
                <c:pt idx="336">
                  <c:v>0.32100805303165214</c:v>
                </c:pt>
                <c:pt idx="337">
                  <c:v>0.3167717123063849</c:v>
                </c:pt>
                <c:pt idx="338">
                  <c:v>0.32511056420607876</c:v>
                </c:pt>
                <c:pt idx="339">
                  <c:v>0.32488754809812281</c:v>
                </c:pt>
                <c:pt idx="340">
                  <c:v>0.33104125329277423</c:v>
                </c:pt>
                <c:pt idx="341">
                  <c:v>0.33327088049616482</c:v>
                </c:pt>
                <c:pt idx="342">
                  <c:v>0.32172142149386684</c:v>
                </c:pt>
                <c:pt idx="343">
                  <c:v>0.34383923993328747</c:v>
                </c:pt>
                <c:pt idx="344">
                  <c:v>0.34544459028931174</c:v>
                </c:pt>
                <c:pt idx="345">
                  <c:v>0.36461932841227873</c:v>
                </c:pt>
                <c:pt idx="346">
                  <c:v>0.36965832174437385</c:v>
                </c:pt>
                <c:pt idx="347">
                  <c:v>0.3653774546597619</c:v>
                </c:pt>
                <c:pt idx="348">
                  <c:v>0.38062803813958412</c:v>
                </c:pt>
                <c:pt idx="349">
                  <c:v>0.37652550192425238</c:v>
                </c:pt>
                <c:pt idx="350">
                  <c:v>0.3678745897548592</c:v>
                </c:pt>
                <c:pt idx="351">
                  <c:v>0.36867725856412736</c:v>
                </c:pt>
                <c:pt idx="352">
                  <c:v>0.38049428114684414</c:v>
                </c:pt>
                <c:pt idx="353">
                  <c:v>0.38076182093853017</c:v>
                </c:pt>
                <c:pt idx="354">
                  <c:v>0.37844296953644596</c:v>
                </c:pt>
                <c:pt idx="355">
                  <c:v>0.37398370652999557</c:v>
                </c:pt>
                <c:pt idx="356">
                  <c:v>0.37416204961510324</c:v>
                </c:pt>
                <c:pt idx="357">
                  <c:v>0.37242291012511042</c:v>
                </c:pt>
                <c:pt idx="358">
                  <c:v>0.3717093874541364</c:v>
                </c:pt>
                <c:pt idx="359">
                  <c:v>0.36452999769114025</c:v>
                </c:pt>
                <c:pt idx="360">
                  <c:v>0.36091795033425211</c:v>
                </c:pt>
                <c:pt idx="361">
                  <c:v>0.3636381531333801</c:v>
                </c:pt>
                <c:pt idx="362">
                  <c:v>0.36876625077205327</c:v>
                </c:pt>
                <c:pt idx="363">
                  <c:v>0.39949053617325814</c:v>
                </c:pt>
                <c:pt idx="364">
                  <c:v>0.40983599006381177</c:v>
                </c:pt>
                <c:pt idx="365">
                  <c:v>0.40591185256906814</c:v>
                </c:pt>
                <c:pt idx="366">
                  <c:v>0.41572216488510993</c:v>
                </c:pt>
                <c:pt idx="367">
                  <c:v>0.41790719047439384</c:v>
                </c:pt>
                <c:pt idx="368">
                  <c:v>0.43248894802123239</c:v>
                </c:pt>
                <c:pt idx="369">
                  <c:v>0.43578882956189413</c:v>
                </c:pt>
                <c:pt idx="370">
                  <c:v>0.41946793077849809</c:v>
                </c:pt>
                <c:pt idx="371">
                  <c:v>0.42312448016818327</c:v>
                </c:pt>
                <c:pt idx="372">
                  <c:v>0.42325825386931903</c:v>
                </c:pt>
                <c:pt idx="373">
                  <c:v>0.43404968260180721</c:v>
                </c:pt>
                <c:pt idx="374">
                  <c:v>0.42272312799371337</c:v>
                </c:pt>
                <c:pt idx="375">
                  <c:v>0.42927818253363159</c:v>
                </c:pt>
                <c:pt idx="376">
                  <c:v>0.43574409410359527</c:v>
                </c:pt>
                <c:pt idx="377">
                  <c:v>0.45157446491077202</c:v>
                </c:pt>
                <c:pt idx="378">
                  <c:v>0.4360116996001242</c:v>
                </c:pt>
                <c:pt idx="379">
                  <c:v>0.4458666170909702</c:v>
                </c:pt>
                <c:pt idx="380">
                  <c:v>0.45795117027661658</c:v>
                </c:pt>
                <c:pt idx="381">
                  <c:v>0.45705934154575845</c:v>
                </c:pt>
                <c:pt idx="382">
                  <c:v>0.45679182545065067</c:v>
                </c:pt>
                <c:pt idx="383">
                  <c:v>0.4547850947110923</c:v>
                </c:pt>
                <c:pt idx="384">
                  <c:v>0.44439501956466576</c:v>
                </c:pt>
                <c:pt idx="385">
                  <c:v>0.44403825399483332</c:v>
                </c:pt>
                <c:pt idx="386">
                  <c:v>0.42731600220592236</c:v>
                </c:pt>
                <c:pt idx="387">
                  <c:v>0.43297930663947515</c:v>
                </c:pt>
                <c:pt idx="388">
                  <c:v>0.43538728506635205</c:v>
                </c:pt>
                <c:pt idx="389">
                  <c:v>0.43253330452745464</c:v>
                </c:pt>
                <c:pt idx="390">
                  <c:v>0.42909966544983269</c:v>
                </c:pt>
                <c:pt idx="391">
                  <c:v>0.43730469826904628</c:v>
                </c:pt>
                <c:pt idx="392">
                  <c:v>0.46263316912288288</c:v>
                </c:pt>
                <c:pt idx="393">
                  <c:v>0.45639021196711571</c:v>
                </c:pt>
                <c:pt idx="394">
                  <c:v>0.46459522314329615</c:v>
                </c:pt>
                <c:pt idx="395">
                  <c:v>0.45286733043445393</c:v>
                </c:pt>
                <c:pt idx="396">
                  <c:v>0.42553221275926179</c:v>
                </c:pt>
                <c:pt idx="397">
                  <c:v>0.41795151755825044</c:v>
                </c:pt>
                <c:pt idx="398">
                  <c:v>0.42352562676892358</c:v>
                </c:pt>
                <c:pt idx="399">
                  <c:v>0.42981319710979937</c:v>
                </c:pt>
                <c:pt idx="400">
                  <c:v>0.4338711499445167</c:v>
                </c:pt>
                <c:pt idx="401">
                  <c:v>0.44885424313874678</c:v>
                </c:pt>
                <c:pt idx="402">
                  <c:v>0.45848622614713319</c:v>
                </c:pt>
                <c:pt idx="403">
                  <c:v>0.4661114838346756</c:v>
                </c:pt>
                <c:pt idx="404">
                  <c:v>0.4707045178912328</c:v>
                </c:pt>
                <c:pt idx="405">
                  <c:v>0.4713288319590776</c:v>
                </c:pt>
                <c:pt idx="406">
                  <c:v>0.47975675064142242</c:v>
                </c:pt>
                <c:pt idx="407">
                  <c:v>0.48243229882225735</c:v>
                </c:pt>
                <c:pt idx="408">
                  <c:v>0.47757169980087899</c:v>
                </c:pt>
                <c:pt idx="409">
                  <c:v>0.49710327682903666</c:v>
                </c:pt>
                <c:pt idx="410">
                  <c:v>0.48720368141100456</c:v>
                </c:pt>
                <c:pt idx="411">
                  <c:v>0.49786128043273203</c:v>
                </c:pt>
                <c:pt idx="412">
                  <c:v>0.48791712917806707</c:v>
                </c:pt>
                <c:pt idx="413">
                  <c:v>0.48885362421917167</c:v>
                </c:pt>
                <c:pt idx="414">
                  <c:v>0.50744866155885715</c:v>
                </c:pt>
                <c:pt idx="415">
                  <c:v>0.52501812645419177</c:v>
                </c:pt>
                <c:pt idx="416">
                  <c:v>0.52573152993374705</c:v>
                </c:pt>
                <c:pt idx="417">
                  <c:v>0.54325638743287197</c:v>
                </c:pt>
                <c:pt idx="418">
                  <c:v>0.53286641380448008</c:v>
                </c:pt>
                <c:pt idx="419">
                  <c:v>0.5354974257171341</c:v>
                </c:pt>
                <c:pt idx="420">
                  <c:v>0.53728105952684735</c:v>
                </c:pt>
                <c:pt idx="421">
                  <c:v>0.53362448279865671</c:v>
                </c:pt>
                <c:pt idx="422">
                  <c:v>0.55810573041757161</c:v>
                </c:pt>
                <c:pt idx="423">
                  <c:v>0.55783820366365888</c:v>
                </c:pt>
                <c:pt idx="424">
                  <c:v>0.54709145681568505</c:v>
                </c:pt>
                <c:pt idx="425">
                  <c:v>0.55293311944747536</c:v>
                </c:pt>
                <c:pt idx="426">
                  <c:v>0.53728110653656436</c:v>
                </c:pt>
                <c:pt idx="427">
                  <c:v>0.52978962824819043</c:v>
                </c:pt>
                <c:pt idx="428">
                  <c:v>0.53714745742317582</c:v>
                </c:pt>
                <c:pt idx="429">
                  <c:v>0.54138368210108823</c:v>
                </c:pt>
                <c:pt idx="430">
                  <c:v>0.5359880685218934</c:v>
                </c:pt>
                <c:pt idx="431">
                  <c:v>0.54303364579220315</c:v>
                </c:pt>
                <c:pt idx="432">
                  <c:v>0.51913205461888201</c:v>
                </c:pt>
                <c:pt idx="433">
                  <c:v>0.52145085778705225</c:v>
                </c:pt>
                <c:pt idx="434">
                  <c:v>0.53710278348653651</c:v>
                </c:pt>
                <c:pt idx="435">
                  <c:v>0.56751482318865243</c:v>
                </c:pt>
                <c:pt idx="436">
                  <c:v>0.56305555701964538</c:v>
                </c:pt>
                <c:pt idx="437">
                  <c:v>0.57005663916509208</c:v>
                </c:pt>
                <c:pt idx="438">
                  <c:v>0.56002334921817143</c:v>
                </c:pt>
                <c:pt idx="439">
                  <c:v>0.56363527127861635</c:v>
                </c:pt>
                <c:pt idx="440">
                  <c:v>0.56720270515003857</c:v>
                </c:pt>
                <c:pt idx="441">
                  <c:v>0.57736977597942873</c:v>
                </c:pt>
                <c:pt idx="442">
                  <c:v>0.57215246770839934</c:v>
                </c:pt>
                <c:pt idx="443">
                  <c:v>0.55734782235048286</c:v>
                </c:pt>
                <c:pt idx="444">
                  <c:v>0.5533790771600049</c:v>
                </c:pt>
                <c:pt idx="445">
                  <c:v>0.55520740433382221</c:v>
                </c:pt>
                <c:pt idx="446">
                  <c:v>0.55030228018055327</c:v>
                </c:pt>
                <c:pt idx="447">
                  <c:v>0.55493985442148541</c:v>
                </c:pt>
                <c:pt idx="448">
                  <c:v>0.54049181977615723</c:v>
                </c:pt>
                <c:pt idx="449">
                  <c:v>0.53023553333845141</c:v>
                </c:pt>
                <c:pt idx="450">
                  <c:v>0.53870814143943968</c:v>
                </c:pt>
                <c:pt idx="451">
                  <c:v>0.54615502723156406</c:v>
                </c:pt>
                <c:pt idx="452">
                  <c:v>0.54535241815692825</c:v>
                </c:pt>
                <c:pt idx="453">
                  <c:v>0.54499575081881768</c:v>
                </c:pt>
                <c:pt idx="454">
                  <c:v>0.54156215226219806</c:v>
                </c:pt>
                <c:pt idx="455">
                  <c:v>0.54758210662299733</c:v>
                </c:pt>
                <c:pt idx="456">
                  <c:v>0.53500707345742149</c:v>
                </c:pt>
                <c:pt idx="457">
                  <c:v>0.5354529930122609</c:v>
                </c:pt>
                <c:pt idx="458">
                  <c:v>0.53888657299523501</c:v>
                </c:pt>
                <c:pt idx="459">
                  <c:v>0.55449396061855283</c:v>
                </c:pt>
                <c:pt idx="460">
                  <c:v>0.55694648574022065</c:v>
                </c:pt>
                <c:pt idx="461">
                  <c:v>0.56461631551827418</c:v>
                </c:pt>
                <c:pt idx="462">
                  <c:v>0.58173978939856918</c:v>
                </c:pt>
                <c:pt idx="463">
                  <c:v>0.59168387110656018</c:v>
                </c:pt>
                <c:pt idx="464">
                  <c:v>0.59181757255173317</c:v>
                </c:pt>
                <c:pt idx="465">
                  <c:v>0.59988888355335668</c:v>
                </c:pt>
                <c:pt idx="466">
                  <c:v>0.60443736764929867</c:v>
                </c:pt>
                <c:pt idx="467">
                  <c:v>0.60144974482699887</c:v>
                </c:pt>
                <c:pt idx="468">
                  <c:v>0.59190702608752366</c:v>
                </c:pt>
                <c:pt idx="469">
                  <c:v>0.58477225798730181</c:v>
                </c:pt>
                <c:pt idx="470">
                  <c:v>0.48769449768867679</c:v>
                </c:pt>
                <c:pt idx="471">
                  <c:v>0.52885335120063148</c:v>
                </c:pt>
                <c:pt idx="472">
                  <c:v>0.52131717437655811</c:v>
                </c:pt>
                <c:pt idx="473">
                  <c:v>0.52399271489113408</c:v>
                </c:pt>
                <c:pt idx="474">
                  <c:v>0.54793890762167541</c:v>
                </c:pt>
                <c:pt idx="475">
                  <c:v>0.54807264954329393</c:v>
                </c:pt>
                <c:pt idx="476">
                  <c:v>0.53768260514861921</c:v>
                </c:pt>
                <c:pt idx="477">
                  <c:v>0.53264361925154713</c:v>
                </c:pt>
                <c:pt idx="478">
                  <c:v>0.5272925473192922</c:v>
                </c:pt>
                <c:pt idx="479">
                  <c:v>0.50691373013115615</c:v>
                </c:pt>
                <c:pt idx="480">
                  <c:v>0.49411566251252514</c:v>
                </c:pt>
                <c:pt idx="481">
                  <c:v>0.49416018715926824</c:v>
                </c:pt>
                <c:pt idx="482">
                  <c:v>0.51774953994608253</c:v>
                </c:pt>
                <c:pt idx="483">
                  <c:v>0.52149534581066925</c:v>
                </c:pt>
                <c:pt idx="484">
                  <c:v>0.50936613706340106</c:v>
                </c:pt>
                <c:pt idx="485">
                  <c:v>0.5055311395823503</c:v>
                </c:pt>
                <c:pt idx="486">
                  <c:v>0.4831902618958599</c:v>
                </c:pt>
                <c:pt idx="487">
                  <c:v>0.49300067556414384</c:v>
                </c:pt>
                <c:pt idx="488">
                  <c:v>0.50789455170343678</c:v>
                </c:pt>
                <c:pt idx="489">
                  <c:v>0.50084891441060253</c:v>
                </c:pt>
                <c:pt idx="490">
                  <c:v>0.51213079570022702</c:v>
                </c:pt>
                <c:pt idx="491">
                  <c:v>0.51413739326612129</c:v>
                </c:pt>
                <c:pt idx="492">
                  <c:v>0.50718099184023857</c:v>
                </c:pt>
                <c:pt idx="493">
                  <c:v>0.5185520695512762</c:v>
                </c:pt>
                <c:pt idx="494">
                  <c:v>0.51873049941944838</c:v>
                </c:pt>
                <c:pt idx="495">
                  <c:v>0.52332359606884271</c:v>
                </c:pt>
                <c:pt idx="496">
                  <c:v>0.51324574415433011</c:v>
                </c:pt>
                <c:pt idx="497">
                  <c:v>0.51431591154459588</c:v>
                </c:pt>
                <c:pt idx="498">
                  <c:v>0.52466141498908625</c:v>
                </c:pt>
                <c:pt idx="499">
                  <c:v>0.5338475000143954</c:v>
                </c:pt>
                <c:pt idx="500">
                  <c:v>0.54116073150971422</c:v>
                </c:pt>
                <c:pt idx="501">
                  <c:v>0.54187413481233015</c:v>
                </c:pt>
                <c:pt idx="502">
                  <c:v>0.53219764111707479</c:v>
                </c:pt>
                <c:pt idx="503">
                  <c:v>0.54285530146915706</c:v>
                </c:pt>
                <c:pt idx="504">
                  <c:v>0.56354622534609944</c:v>
                </c:pt>
                <c:pt idx="505">
                  <c:v>0.56354622534609944</c:v>
                </c:pt>
                <c:pt idx="506">
                  <c:v>0.56354622534609944</c:v>
                </c:pt>
                <c:pt idx="507">
                  <c:v>0.56354622534609944</c:v>
                </c:pt>
                <c:pt idx="508">
                  <c:v>0.56354622534609944</c:v>
                </c:pt>
              </c:numCache>
            </c:numRef>
          </c:val>
          <c:smooth val="0"/>
          <c:extLst>
            <c:ext xmlns:c16="http://schemas.microsoft.com/office/drawing/2014/chart" uri="{C3380CC4-5D6E-409C-BE32-E72D297353CC}">
              <c16:uniqueId val="{00000003-FEDF-4824-BFB3-214DAB16BA7B}"/>
            </c:ext>
          </c:extLst>
        </c:ser>
        <c:ser>
          <c:idx val="7"/>
          <c:order val="7"/>
          <c:tx>
            <c:strRef>
              <c:f>Chart!$I$4</c:f>
              <c:strCache>
                <c:ptCount val="1"/>
                <c:pt idx="0">
                  <c:v>Oct '02</c:v>
                </c:pt>
              </c:strCache>
            </c:strRef>
          </c:tx>
          <c:spPr>
            <a:ln w="15875" cap="rnd">
              <a:solidFill>
                <a:schemeClr val="accent2"/>
              </a:solidFill>
              <a:round/>
            </a:ln>
            <a:effectLst/>
          </c:spPr>
          <c:marker>
            <c:symbol val="none"/>
          </c:marker>
          <c:cat>
            <c:numRef>
              <c:f>Chart!$A$5:$A$513</c:f>
              <c:numCache>
                <c:formatCode>General</c:formatCode>
                <c:ptCount val="50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pt idx="100">
                  <c:v>101</c:v>
                </c:pt>
                <c:pt idx="101">
                  <c:v>102</c:v>
                </c:pt>
                <c:pt idx="102">
                  <c:v>103</c:v>
                </c:pt>
                <c:pt idx="103">
                  <c:v>104</c:v>
                </c:pt>
                <c:pt idx="104">
                  <c:v>105</c:v>
                </c:pt>
                <c:pt idx="105">
                  <c:v>106</c:v>
                </c:pt>
                <c:pt idx="106">
                  <c:v>107</c:v>
                </c:pt>
                <c:pt idx="107">
                  <c:v>108</c:v>
                </c:pt>
                <c:pt idx="108">
                  <c:v>109</c:v>
                </c:pt>
                <c:pt idx="109">
                  <c:v>110</c:v>
                </c:pt>
                <c:pt idx="110">
                  <c:v>111</c:v>
                </c:pt>
                <c:pt idx="111">
                  <c:v>112</c:v>
                </c:pt>
                <c:pt idx="112">
                  <c:v>113</c:v>
                </c:pt>
                <c:pt idx="113">
                  <c:v>114</c:v>
                </c:pt>
                <c:pt idx="114">
                  <c:v>115</c:v>
                </c:pt>
                <c:pt idx="115">
                  <c:v>116</c:v>
                </c:pt>
                <c:pt idx="116">
                  <c:v>117</c:v>
                </c:pt>
                <c:pt idx="117">
                  <c:v>118</c:v>
                </c:pt>
                <c:pt idx="118">
                  <c:v>119</c:v>
                </c:pt>
                <c:pt idx="119">
                  <c:v>120</c:v>
                </c:pt>
                <c:pt idx="120">
                  <c:v>121</c:v>
                </c:pt>
                <c:pt idx="121">
                  <c:v>122</c:v>
                </c:pt>
                <c:pt idx="122">
                  <c:v>123</c:v>
                </c:pt>
                <c:pt idx="123">
                  <c:v>124</c:v>
                </c:pt>
                <c:pt idx="124">
                  <c:v>125</c:v>
                </c:pt>
                <c:pt idx="125">
                  <c:v>126</c:v>
                </c:pt>
                <c:pt idx="126">
                  <c:v>127</c:v>
                </c:pt>
                <c:pt idx="127">
                  <c:v>128</c:v>
                </c:pt>
                <c:pt idx="128">
                  <c:v>129</c:v>
                </c:pt>
                <c:pt idx="129">
                  <c:v>130</c:v>
                </c:pt>
                <c:pt idx="130">
                  <c:v>131</c:v>
                </c:pt>
                <c:pt idx="131">
                  <c:v>132</c:v>
                </c:pt>
                <c:pt idx="132">
                  <c:v>133</c:v>
                </c:pt>
                <c:pt idx="133">
                  <c:v>134</c:v>
                </c:pt>
                <c:pt idx="134">
                  <c:v>135</c:v>
                </c:pt>
                <c:pt idx="135">
                  <c:v>136</c:v>
                </c:pt>
                <c:pt idx="136">
                  <c:v>137</c:v>
                </c:pt>
                <c:pt idx="137">
                  <c:v>138</c:v>
                </c:pt>
                <c:pt idx="138">
                  <c:v>139</c:v>
                </c:pt>
                <c:pt idx="139">
                  <c:v>140</c:v>
                </c:pt>
                <c:pt idx="140">
                  <c:v>141</c:v>
                </c:pt>
                <c:pt idx="141">
                  <c:v>142</c:v>
                </c:pt>
                <c:pt idx="142">
                  <c:v>143</c:v>
                </c:pt>
                <c:pt idx="143">
                  <c:v>144</c:v>
                </c:pt>
                <c:pt idx="144">
                  <c:v>145</c:v>
                </c:pt>
                <c:pt idx="145">
                  <c:v>146</c:v>
                </c:pt>
                <c:pt idx="146">
                  <c:v>147</c:v>
                </c:pt>
                <c:pt idx="147">
                  <c:v>148</c:v>
                </c:pt>
                <c:pt idx="148">
                  <c:v>149</c:v>
                </c:pt>
                <c:pt idx="149">
                  <c:v>150</c:v>
                </c:pt>
                <c:pt idx="150">
                  <c:v>151</c:v>
                </c:pt>
                <c:pt idx="151">
                  <c:v>152</c:v>
                </c:pt>
                <c:pt idx="152">
                  <c:v>153</c:v>
                </c:pt>
                <c:pt idx="153">
                  <c:v>154</c:v>
                </c:pt>
                <c:pt idx="154">
                  <c:v>155</c:v>
                </c:pt>
                <c:pt idx="155">
                  <c:v>156</c:v>
                </c:pt>
                <c:pt idx="156">
                  <c:v>157</c:v>
                </c:pt>
                <c:pt idx="157">
                  <c:v>158</c:v>
                </c:pt>
                <c:pt idx="158">
                  <c:v>159</c:v>
                </c:pt>
                <c:pt idx="159">
                  <c:v>160</c:v>
                </c:pt>
                <c:pt idx="160">
                  <c:v>161</c:v>
                </c:pt>
                <c:pt idx="161">
                  <c:v>162</c:v>
                </c:pt>
                <c:pt idx="162">
                  <c:v>163</c:v>
                </c:pt>
                <c:pt idx="163">
                  <c:v>164</c:v>
                </c:pt>
                <c:pt idx="164">
                  <c:v>165</c:v>
                </c:pt>
                <c:pt idx="165">
                  <c:v>166</c:v>
                </c:pt>
                <c:pt idx="166">
                  <c:v>167</c:v>
                </c:pt>
                <c:pt idx="167">
                  <c:v>168</c:v>
                </c:pt>
                <c:pt idx="168">
                  <c:v>169</c:v>
                </c:pt>
                <c:pt idx="169">
                  <c:v>170</c:v>
                </c:pt>
                <c:pt idx="170">
                  <c:v>171</c:v>
                </c:pt>
                <c:pt idx="171">
                  <c:v>172</c:v>
                </c:pt>
                <c:pt idx="172">
                  <c:v>173</c:v>
                </c:pt>
                <c:pt idx="173">
                  <c:v>174</c:v>
                </c:pt>
                <c:pt idx="174">
                  <c:v>175</c:v>
                </c:pt>
                <c:pt idx="175">
                  <c:v>176</c:v>
                </c:pt>
                <c:pt idx="176">
                  <c:v>177</c:v>
                </c:pt>
                <c:pt idx="177">
                  <c:v>178</c:v>
                </c:pt>
                <c:pt idx="178">
                  <c:v>179</c:v>
                </c:pt>
                <c:pt idx="179">
                  <c:v>180</c:v>
                </c:pt>
                <c:pt idx="180">
                  <c:v>181</c:v>
                </c:pt>
                <c:pt idx="181">
                  <c:v>182</c:v>
                </c:pt>
                <c:pt idx="182">
                  <c:v>183</c:v>
                </c:pt>
                <c:pt idx="183">
                  <c:v>184</c:v>
                </c:pt>
                <c:pt idx="184">
                  <c:v>185</c:v>
                </c:pt>
                <c:pt idx="185">
                  <c:v>186</c:v>
                </c:pt>
                <c:pt idx="186">
                  <c:v>187</c:v>
                </c:pt>
                <c:pt idx="187">
                  <c:v>188</c:v>
                </c:pt>
                <c:pt idx="188">
                  <c:v>189</c:v>
                </c:pt>
                <c:pt idx="189">
                  <c:v>190</c:v>
                </c:pt>
                <c:pt idx="190">
                  <c:v>191</c:v>
                </c:pt>
                <c:pt idx="191">
                  <c:v>192</c:v>
                </c:pt>
                <c:pt idx="192">
                  <c:v>193</c:v>
                </c:pt>
                <c:pt idx="193">
                  <c:v>194</c:v>
                </c:pt>
                <c:pt idx="194">
                  <c:v>195</c:v>
                </c:pt>
                <c:pt idx="195">
                  <c:v>196</c:v>
                </c:pt>
                <c:pt idx="196">
                  <c:v>197</c:v>
                </c:pt>
                <c:pt idx="197">
                  <c:v>198</c:v>
                </c:pt>
                <c:pt idx="198">
                  <c:v>199</c:v>
                </c:pt>
                <c:pt idx="199">
                  <c:v>200</c:v>
                </c:pt>
                <c:pt idx="200">
                  <c:v>201</c:v>
                </c:pt>
                <c:pt idx="201">
                  <c:v>202</c:v>
                </c:pt>
                <c:pt idx="202">
                  <c:v>203</c:v>
                </c:pt>
                <c:pt idx="203">
                  <c:v>204</c:v>
                </c:pt>
                <c:pt idx="204">
                  <c:v>205</c:v>
                </c:pt>
                <c:pt idx="205">
                  <c:v>206</c:v>
                </c:pt>
                <c:pt idx="206">
                  <c:v>207</c:v>
                </c:pt>
                <c:pt idx="207">
                  <c:v>208</c:v>
                </c:pt>
                <c:pt idx="208">
                  <c:v>209</c:v>
                </c:pt>
                <c:pt idx="209">
                  <c:v>210</c:v>
                </c:pt>
                <c:pt idx="210">
                  <c:v>211</c:v>
                </c:pt>
                <c:pt idx="211">
                  <c:v>212</c:v>
                </c:pt>
                <c:pt idx="212">
                  <c:v>213</c:v>
                </c:pt>
                <c:pt idx="213">
                  <c:v>214</c:v>
                </c:pt>
                <c:pt idx="214">
                  <c:v>215</c:v>
                </c:pt>
                <c:pt idx="215">
                  <c:v>216</c:v>
                </c:pt>
                <c:pt idx="216">
                  <c:v>217</c:v>
                </c:pt>
                <c:pt idx="217">
                  <c:v>218</c:v>
                </c:pt>
                <c:pt idx="218">
                  <c:v>219</c:v>
                </c:pt>
                <c:pt idx="219">
                  <c:v>220</c:v>
                </c:pt>
                <c:pt idx="220">
                  <c:v>221</c:v>
                </c:pt>
                <c:pt idx="221">
                  <c:v>222</c:v>
                </c:pt>
                <c:pt idx="222">
                  <c:v>223</c:v>
                </c:pt>
                <c:pt idx="223">
                  <c:v>224</c:v>
                </c:pt>
                <c:pt idx="224">
                  <c:v>225</c:v>
                </c:pt>
                <c:pt idx="225">
                  <c:v>226</c:v>
                </c:pt>
                <c:pt idx="226">
                  <c:v>227</c:v>
                </c:pt>
                <c:pt idx="227">
                  <c:v>228</c:v>
                </c:pt>
                <c:pt idx="228">
                  <c:v>229</c:v>
                </c:pt>
                <c:pt idx="229">
                  <c:v>230</c:v>
                </c:pt>
                <c:pt idx="230">
                  <c:v>231</c:v>
                </c:pt>
                <c:pt idx="231">
                  <c:v>232</c:v>
                </c:pt>
                <c:pt idx="232">
                  <c:v>233</c:v>
                </c:pt>
                <c:pt idx="233">
                  <c:v>234</c:v>
                </c:pt>
                <c:pt idx="234">
                  <c:v>235</c:v>
                </c:pt>
                <c:pt idx="235">
                  <c:v>236</c:v>
                </c:pt>
                <c:pt idx="236">
                  <c:v>237</c:v>
                </c:pt>
                <c:pt idx="237">
                  <c:v>238</c:v>
                </c:pt>
                <c:pt idx="238">
                  <c:v>239</c:v>
                </c:pt>
                <c:pt idx="239">
                  <c:v>240</c:v>
                </c:pt>
                <c:pt idx="240">
                  <c:v>241</c:v>
                </c:pt>
                <c:pt idx="241">
                  <c:v>242</c:v>
                </c:pt>
                <c:pt idx="242">
                  <c:v>243</c:v>
                </c:pt>
                <c:pt idx="243">
                  <c:v>244</c:v>
                </c:pt>
                <c:pt idx="244">
                  <c:v>245</c:v>
                </c:pt>
                <c:pt idx="245">
                  <c:v>246</c:v>
                </c:pt>
                <c:pt idx="246">
                  <c:v>247</c:v>
                </c:pt>
                <c:pt idx="247">
                  <c:v>248</c:v>
                </c:pt>
                <c:pt idx="248">
                  <c:v>249</c:v>
                </c:pt>
                <c:pt idx="249">
                  <c:v>250</c:v>
                </c:pt>
                <c:pt idx="250">
                  <c:v>251</c:v>
                </c:pt>
                <c:pt idx="251">
                  <c:v>252</c:v>
                </c:pt>
                <c:pt idx="252">
                  <c:v>253</c:v>
                </c:pt>
                <c:pt idx="253">
                  <c:v>254</c:v>
                </c:pt>
                <c:pt idx="254">
                  <c:v>255</c:v>
                </c:pt>
                <c:pt idx="255">
                  <c:v>256</c:v>
                </c:pt>
                <c:pt idx="256">
                  <c:v>257</c:v>
                </c:pt>
                <c:pt idx="257">
                  <c:v>258</c:v>
                </c:pt>
                <c:pt idx="258">
                  <c:v>259</c:v>
                </c:pt>
                <c:pt idx="259">
                  <c:v>260</c:v>
                </c:pt>
                <c:pt idx="260">
                  <c:v>261</c:v>
                </c:pt>
                <c:pt idx="261">
                  <c:v>262</c:v>
                </c:pt>
                <c:pt idx="262">
                  <c:v>263</c:v>
                </c:pt>
                <c:pt idx="263">
                  <c:v>264</c:v>
                </c:pt>
                <c:pt idx="264">
                  <c:v>265</c:v>
                </c:pt>
                <c:pt idx="265">
                  <c:v>266</c:v>
                </c:pt>
                <c:pt idx="266">
                  <c:v>267</c:v>
                </c:pt>
                <c:pt idx="267">
                  <c:v>268</c:v>
                </c:pt>
                <c:pt idx="268">
                  <c:v>269</c:v>
                </c:pt>
                <c:pt idx="269">
                  <c:v>270</c:v>
                </c:pt>
                <c:pt idx="270">
                  <c:v>271</c:v>
                </c:pt>
                <c:pt idx="271">
                  <c:v>272</c:v>
                </c:pt>
                <c:pt idx="272">
                  <c:v>273</c:v>
                </c:pt>
                <c:pt idx="273">
                  <c:v>274</c:v>
                </c:pt>
                <c:pt idx="274">
                  <c:v>275</c:v>
                </c:pt>
                <c:pt idx="275">
                  <c:v>276</c:v>
                </c:pt>
                <c:pt idx="276">
                  <c:v>277</c:v>
                </c:pt>
                <c:pt idx="277">
                  <c:v>278</c:v>
                </c:pt>
                <c:pt idx="278">
                  <c:v>279</c:v>
                </c:pt>
                <c:pt idx="279">
                  <c:v>280</c:v>
                </c:pt>
                <c:pt idx="280">
                  <c:v>281</c:v>
                </c:pt>
                <c:pt idx="281">
                  <c:v>282</c:v>
                </c:pt>
                <c:pt idx="282">
                  <c:v>283</c:v>
                </c:pt>
                <c:pt idx="283">
                  <c:v>284</c:v>
                </c:pt>
                <c:pt idx="284">
                  <c:v>285</c:v>
                </c:pt>
                <c:pt idx="285">
                  <c:v>286</c:v>
                </c:pt>
                <c:pt idx="286">
                  <c:v>287</c:v>
                </c:pt>
                <c:pt idx="287">
                  <c:v>288</c:v>
                </c:pt>
                <c:pt idx="288">
                  <c:v>289</c:v>
                </c:pt>
                <c:pt idx="289">
                  <c:v>290</c:v>
                </c:pt>
                <c:pt idx="290">
                  <c:v>291</c:v>
                </c:pt>
                <c:pt idx="291">
                  <c:v>292</c:v>
                </c:pt>
                <c:pt idx="292">
                  <c:v>293</c:v>
                </c:pt>
                <c:pt idx="293">
                  <c:v>294</c:v>
                </c:pt>
                <c:pt idx="294">
                  <c:v>295</c:v>
                </c:pt>
                <c:pt idx="295">
                  <c:v>296</c:v>
                </c:pt>
                <c:pt idx="296">
                  <c:v>297</c:v>
                </c:pt>
                <c:pt idx="297">
                  <c:v>298</c:v>
                </c:pt>
                <c:pt idx="298">
                  <c:v>299</c:v>
                </c:pt>
                <c:pt idx="299">
                  <c:v>300</c:v>
                </c:pt>
                <c:pt idx="300">
                  <c:v>301</c:v>
                </c:pt>
                <c:pt idx="301">
                  <c:v>302</c:v>
                </c:pt>
                <c:pt idx="302">
                  <c:v>303</c:v>
                </c:pt>
                <c:pt idx="303">
                  <c:v>304</c:v>
                </c:pt>
                <c:pt idx="304">
                  <c:v>305</c:v>
                </c:pt>
                <c:pt idx="305">
                  <c:v>306</c:v>
                </c:pt>
                <c:pt idx="306">
                  <c:v>307</c:v>
                </c:pt>
                <c:pt idx="307">
                  <c:v>308</c:v>
                </c:pt>
                <c:pt idx="308">
                  <c:v>309</c:v>
                </c:pt>
                <c:pt idx="309">
                  <c:v>310</c:v>
                </c:pt>
                <c:pt idx="310">
                  <c:v>311</c:v>
                </c:pt>
                <c:pt idx="311">
                  <c:v>312</c:v>
                </c:pt>
                <c:pt idx="312">
                  <c:v>313</c:v>
                </c:pt>
                <c:pt idx="313">
                  <c:v>314</c:v>
                </c:pt>
                <c:pt idx="314">
                  <c:v>315</c:v>
                </c:pt>
                <c:pt idx="315">
                  <c:v>316</c:v>
                </c:pt>
                <c:pt idx="316">
                  <c:v>317</c:v>
                </c:pt>
                <c:pt idx="317">
                  <c:v>318</c:v>
                </c:pt>
                <c:pt idx="318">
                  <c:v>319</c:v>
                </c:pt>
                <c:pt idx="319">
                  <c:v>320</c:v>
                </c:pt>
                <c:pt idx="320">
                  <c:v>321</c:v>
                </c:pt>
                <c:pt idx="321">
                  <c:v>322</c:v>
                </c:pt>
                <c:pt idx="322">
                  <c:v>323</c:v>
                </c:pt>
                <c:pt idx="323">
                  <c:v>324</c:v>
                </c:pt>
                <c:pt idx="324">
                  <c:v>325</c:v>
                </c:pt>
                <c:pt idx="325">
                  <c:v>326</c:v>
                </c:pt>
                <c:pt idx="326">
                  <c:v>327</c:v>
                </c:pt>
                <c:pt idx="327">
                  <c:v>328</c:v>
                </c:pt>
                <c:pt idx="328">
                  <c:v>329</c:v>
                </c:pt>
                <c:pt idx="329">
                  <c:v>330</c:v>
                </c:pt>
                <c:pt idx="330">
                  <c:v>331</c:v>
                </c:pt>
                <c:pt idx="331">
                  <c:v>332</c:v>
                </c:pt>
                <c:pt idx="332">
                  <c:v>333</c:v>
                </c:pt>
                <c:pt idx="333">
                  <c:v>334</c:v>
                </c:pt>
                <c:pt idx="334">
                  <c:v>335</c:v>
                </c:pt>
                <c:pt idx="335">
                  <c:v>336</c:v>
                </c:pt>
                <c:pt idx="336">
                  <c:v>337</c:v>
                </c:pt>
                <c:pt idx="337">
                  <c:v>338</c:v>
                </c:pt>
                <c:pt idx="338">
                  <c:v>339</c:v>
                </c:pt>
                <c:pt idx="339">
                  <c:v>340</c:v>
                </c:pt>
                <c:pt idx="340">
                  <c:v>341</c:v>
                </c:pt>
                <c:pt idx="341">
                  <c:v>342</c:v>
                </c:pt>
                <c:pt idx="342">
                  <c:v>343</c:v>
                </c:pt>
                <c:pt idx="343">
                  <c:v>344</c:v>
                </c:pt>
                <c:pt idx="344">
                  <c:v>345</c:v>
                </c:pt>
                <c:pt idx="345">
                  <c:v>346</c:v>
                </c:pt>
                <c:pt idx="346">
                  <c:v>347</c:v>
                </c:pt>
                <c:pt idx="347">
                  <c:v>348</c:v>
                </c:pt>
                <c:pt idx="348">
                  <c:v>349</c:v>
                </c:pt>
                <c:pt idx="349">
                  <c:v>350</c:v>
                </c:pt>
                <c:pt idx="350">
                  <c:v>351</c:v>
                </c:pt>
                <c:pt idx="351">
                  <c:v>352</c:v>
                </c:pt>
                <c:pt idx="352">
                  <c:v>353</c:v>
                </c:pt>
                <c:pt idx="353">
                  <c:v>354</c:v>
                </c:pt>
                <c:pt idx="354">
                  <c:v>355</c:v>
                </c:pt>
                <c:pt idx="355">
                  <c:v>356</c:v>
                </c:pt>
                <c:pt idx="356">
                  <c:v>357</c:v>
                </c:pt>
                <c:pt idx="357">
                  <c:v>358</c:v>
                </c:pt>
                <c:pt idx="358">
                  <c:v>359</c:v>
                </c:pt>
                <c:pt idx="359">
                  <c:v>360</c:v>
                </c:pt>
                <c:pt idx="360">
                  <c:v>361</c:v>
                </c:pt>
                <c:pt idx="361">
                  <c:v>362</c:v>
                </c:pt>
                <c:pt idx="362">
                  <c:v>363</c:v>
                </c:pt>
                <c:pt idx="363">
                  <c:v>364</c:v>
                </c:pt>
                <c:pt idx="364">
                  <c:v>365</c:v>
                </c:pt>
                <c:pt idx="365">
                  <c:v>366</c:v>
                </c:pt>
                <c:pt idx="366">
                  <c:v>367</c:v>
                </c:pt>
                <c:pt idx="367">
                  <c:v>368</c:v>
                </c:pt>
                <c:pt idx="368">
                  <c:v>369</c:v>
                </c:pt>
                <c:pt idx="369">
                  <c:v>370</c:v>
                </c:pt>
                <c:pt idx="370">
                  <c:v>371</c:v>
                </c:pt>
                <c:pt idx="371">
                  <c:v>372</c:v>
                </c:pt>
                <c:pt idx="372">
                  <c:v>373</c:v>
                </c:pt>
                <c:pt idx="373">
                  <c:v>374</c:v>
                </c:pt>
                <c:pt idx="374">
                  <c:v>375</c:v>
                </c:pt>
                <c:pt idx="375">
                  <c:v>376</c:v>
                </c:pt>
                <c:pt idx="376">
                  <c:v>377</c:v>
                </c:pt>
                <c:pt idx="377">
                  <c:v>378</c:v>
                </c:pt>
                <c:pt idx="378">
                  <c:v>379</c:v>
                </c:pt>
                <c:pt idx="379">
                  <c:v>380</c:v>
                </c:pt>
                <c:pt idx="380">
                  <c:v>381</c:v>
                </c:pt>
                <c:pt idx="381">
                  <c:v>382</c:v>
                </c:pt>
                <c:pt idx="382">
                  <c:v>383</c:v>
                </c:pt>
                <c:pt idx="383">
                  <c:v>384</c:v>
                </c:pt>
                <c:pt idx="384">
                  <c:v>385</c:v>
                </c:pt>
                <c:pt idx="385">
                  <c:v>386</c:v>
                </c:pt>
                <c:pt idx="386">
                  <c:v>387</c:v>
                </c:pt>
                <c:pt idx="387">
                  <c:v>388</c:v>
                </c:pt>
                <c:pt idx="388">
                  <c:v>389</c:v>
                </c:pt>
                <c:pt idx="389">
                  <c:v>390</c:v>
                </c:pt>
                <c:pt idx="390">
                  <c:v>391</c:v>
                </c:pt>
                <c:pt idx="391">
                  <c:v>392</c:v>
                </c:pt>
                <c:pt idx="392">
                  <c:v>393</c:v>
                </c:pt>
                <c:pt idx="393">
                  <c:v>394</c:v>
                </c:pt>
                <c:pt idx="394">
                  <c:v>395</c:v>
                </c:pt>
                <c:pt idx="395">
                  <c:v>396</c:v>
                </c:pt>
                <c:pt idx="396">
                  <c:v>397</c:v>
                </c:pt>
                <c:pt idx="397">
                  <c:v>398</c:v>
                </c:pt>
                <c:pt idx="398">
                  <c:v>399</c:v>
                </c:pt>
                <c:pt idx="399">
                  <c:v>400</c:v>
                </c:pt>
                <c:pt idx="400">
                  <c:v>401</c:v>
                </c:pt>
                <c:pt idx="401">
                  <c:v>402</c:v>
                </c:pt>
                <c:pt idx="402">
                  <c:v>403</c:v>
                </c:pt>
                <c:pt idx="403">
                  <c:v>404</c:v>
                </c:pt>
                <c:pt idx="404">
                  <c:v>405</c:v>
                </c:pt>
                <c:pt idx="405">
                  <c:v>406</c:v>
                </c:pt>
                <c:pt idx="406">
                  <c:v>407</c:v>
                </c:pt>
                <c:pt idx="407">
                  <c:v>408</c:v>
                </c:pt>
                <c:pt idx="408">
                  <c:v>409</c:v>
                </c:pt>
                <c:pt idx="409">
                  <c:v>410</c:v>
                </c:pt>
                <c:pt idx="410">
                  <c:v>411</c:v>
                </c:pt>
                <c:pt idx="411">
                  <c:v>412</c:v>
                </c:pt>
                <c:pt idx="412">
                  <c:v>413</c:v>
                </c:pt>
                <c:pt idx="413">
                  <c:v>414</c:v>
                </c:pt>
                <c:pt idx="414">
                  <c:v>415</c:v>
                </c:pt>
                <c:pt idx="415">
                  <c:v>416</c:v>
                </c:pt>
                <c:pt idx="416">
                  <c:v>417</c:v>
                </c:pt>
                <c:pt idx="417">
                  <c:v>418</c:v>
                </c:pt>
                <c:pt idx="418">
                  <c:v>419</c:v>
                </c:pt>
                <c:pt idx="419">
                  <c:v>420</c:v>
                </c:pt>
                <c:pt idx="420">
                  <c:v>421</c:v>
                </c:pt>
                <c:pt idx="421">
                  <c:v>422</c:v>
                </c:pt>
                <c:pt idx="422">
                  <c:v>423</c:v>
                </c:pt>
                <c:pt idx="423">
                  <c:v>424</c:v>
                </c:pt>
                <c:pt idx="424">
                  <c:v>425</c:v>
                </c:pt>
                <c:pt idx="425">
                  <c:v>426</c:v>
                </c:pt>
                <c:pt idx="426">
                  <c:v>427</c:v>
                </c:pt>
                <c:pt idx="427">
                  <c:v>428</c:v>
                </c:pt>
                <c:pt idx="428">
                  <c:v>429</c:v>
                </c:pt>
                <c:pt idx="429">
                  <c:v>430</c:v>
                </c:pt>
                <c:pt idx="430">
                  <c:v>431</c:v>
                </c:pt>
                <c:pt idx="431">
                  <c:v>432</c:v>
                </c:pt>
                <c:pt idx="432">
                  <c:v>433</c:v>
                </c:pt>
                <c:pt idx="433">
                  <c:v>434</c:v>
                </c:pt>
                <c:pt idx="434">
                  <c:v>435</c:v>
                </c:pt>
                <c:pt idx="435">
                  <c:v>436</c:v>
                </c:pt>
                <c:pt idx="436">
                  <c:v>437</c:v>
                </c:pt>
                <c:pt idx="437">
                  <c:v>438</c:v>
                </c:pt>
                <c:pt idx="438">
                  <c:v>439</c:v>
                </c:pt>
                <c:pt idx="439">
                  <c:v>440</c:v>
                </c:pt>
                <c:pt idx="440">
                  <c:v>441</c:v>
                </c:pt>
                <c:pt idx="441">
                  <c:v>442</c:v>
                </c:pt>
                <c:pt idx="442">
                  <c:v>443</c:v>
                </c:pt>
                <c:pt idx="443">
                  <c:v>444</c:v>
                </c:pt>
                <c:pt idx="444">
                  <c:v>445</c:v>
                </c:pt>
                <c:pt idx="445">
                  <c:v>446</c:v>
                </c:pt>
                <c:pt idx="446">
                  <c:v>447</c:v>
                </c:pt>
                <c:pt idx="447">
                  <c:v>448</c:v>
                </c:pt>
                <c:pt idx="448">
                  <c:v>449</c:v>
                </c:pt>
                <c:pt idx="449">
                  <c:v>450</c:v>
                </c:pt>
                <c:pt idx="450">
                  <c:v>451</c:v>
                </c:pt>
                <c:pt idx="451">
                  <c:v>452</c:v>
                </c:pt>
                <c:pt idx="452">
                  <c:v>453</c:v>
                </c:pt>
                <c:pt idx="453">
                  <c:v>454</c:v>
                </c:pt>
                <c:pt idx="454">
                  <c:v>455</c:v>
                </c:pt>
                <c:pt idx="455">
                  <c:v>456</c:v>
                </c:pt>
                <c:pt idx="456">
                  <c:v>457</c:v>
                </c:pt>
                <c:pt idx="457">
                  <c:v>458</c:v>
                </c:pt>
                <c:pt idx="458">
                  <c:v>459</c:v>
                </c:pt>
                <c:pt idx="459">
                  <c:v>460</c:v>
                </c:pt>
                <c:pt idx="460">
                  <c:v>461</c:v>
                </c:pt>
                <c:pt idx="461">
                  <c:v>462</c:v>
                </c:pt>
                <c:pt idx="462">
                  <c:v>463</c:v>
                </c:pt>
                <c:pt idx="463">
                  <c:v>464</c:v>
                </c:pt>
                <c:pt idx="464">
                  <c:v>465</c:v>
                </c:pt>
                <c:pt idx="465">
                  <c:v>466</c:v>
                </c:pt>
                <c:pt idx="466">
                  <c:v>467</c:v>
                </c:pt>
                <c:pt idx="467">
                  <c:v>468</c:v>
                </c:pt>
                <c:pt idx="468">
                  <c:v>469</c:v>
                </c:pt>
                <c:pt idx="469">
                  <c:v>470</c:v>
                </c:pt>
                <c:pt idx="470">
                  <c:v>471</c:v>
                </c:pt>
                <c:pt idx="471">
                  <c:v>472</c:v>
                </c:pt>
                <c:pt idx="472">
                  <c:v>473</c:v>
                </c:pt>
                <c:pt idx="473">
                  <c:v>474</c:v>
                </c:pt>
                <c:pt idx="474">
                  <c:v>475</c:v>
                </c:pt>
                <c:pt idx="475">
                  <c:v>476</c:v>
                </c:pt>
                <c:pt idx="476">
                  <c:v>477</c:v>
                </c:pt>
                <c:pt idx="477">
                  <c:v>478</c:v>
                </c:pt>
                <c:pt idx="478">
                  <c:v>479</c:v>
                </c:pt>
                <c:pt idx="479">
                  <c:v>480</c:v>
                </c:pt>
                <c:pt idx="480">
                  <c:v>481</c:v>
                </c:pt>
                <c:pt idx="481">
                  <c:v>482</c:v>
                </c:pt>
                <c:pt idx="482">
                  <c:v>483</c:v>
                </c:pt>
                <c:pt idx="483">
                  <c:v>484</c:v>
                </c:pt>
                <c:pt idx="484">
                  <c:v>485</c:v>
                </c:pt>
                <c:pt idx="485">
                  <c:v>486</c:v>
                </c:pt>
                <c:pt idx="486">
                  <c:v>487</c:v>
                </c:pt>
                <c:pt idx="487">
                  <c:v>488</c:v>
                </c:pt>
                <c:pt idx="488">
                  <c:v>489</c:v>
                </c:pt>
                <c:pt idx="489">
                  <c:v>490</c:v>
                </c:pt>
                <c:pt idx="490">
                  <c:v>491</c:v>
                </c:pt>
                <c:pt idx="491">
                  <c:v>492</c:v>
                </c:pt>
                <c:pt idx="492">
                  <c:v>493</c:v>
                </c:pt>
                <c:pt idx="493">
                  <c:v>494</c:v>
                </c:pt>
                <c:pt idx="494">
                  <c:v>495</c:v>
                </c:pt>
                <c:pt idx="495">
                  <c:v>496</c:v>
                </c:pt>
                <c:pt idx="496">
                  <c:v>497</c:v>
                </c:pt>
                <c:pt idx="497">
                  <c:v>498</c:v>
                </c:pt>
                <c:pt idx="498">
                  <c:v>499</c:v>
                </c:pt>
                <c:pt idx="499">
                  <c:v>500</c:v>
                </c:pt>
                <c:pt idx="500">
                  <c:v>501</c:v>
                </c:pt>
                <c:pt idx="501">
                  <c:v>502</c:v>
                </c:pt>
                <c:pt idx="502">
                  <c:v>503</c:v>
                </c:pt>
                <c:pt idx="503">
                  <c:v>504</c:v>
                </c:pt>
                <c:pt idx="504">
                  <c:v>505</c:v>
                </c:pt>
                <c:pt idx="505">
                  <c:v>506</c:v>
                </c:pt>
                <c:pt idx="506">
                  <c:v>507</c:v>
                </c:pt>
                <c:pt idx="507">
                  <c:v>508</c:v>
                </c:pt>
                <c:pt idx="508">
                  <c:v>509</c:v>
                </c:pt>
              </c:numCache>
            </c:numRef>
          </c:cat>
          <c:val>
            <c:numRef>
              <c:f>Chart!$I$5:$I$513</c:f>
              <c:numCache>
                <c:formatCode>0%</c:formatCode>
                <c:ptCount val="509"/>
                <c:pt idx="0">
                  <c:v>-2.7278799999999999E-2</c:v>
                </c:pt>
                <c:pt idx="1">
                  <c:v>6.7293813222799592E-3</c:v>
                </c:pt>
                <c:pt idx="2">
                  <c:v>4.604991547915116E-2</c:v>
                </c:pt>
                <c:pt idx="3">
                  <c:v>5.3713381764942891E-2</c:v>
                </c:pt>
                <c:pt idx="4">
                  <c:v>0.10359090469078636</c:v>
                </c:pt>
                <c:pt idx="5">
                  <c:v>7.6988183778672115E-2</c:v>
                </c:pt>
                <c:pt idx="6">
                  <c:v>0.10100028152892793</c:v>
                </c:pt>
                <c:pt idx="7">
                  <c:v>0.10750466089211641</c:v>
                </c:pt>
                <c:pt idx="8">
                  <c:v>0.12670281118681692</c:v>
                </c:pt>
                <c:pt idx="9">
                  <c:v>0.11473159381795695</c:v>
                </c:pt>
                <c:pt idx="10">
                  <c:v>0.12221322638302556</c:v>
                </c:pt>
                <c:pt idx="11">
                  <c:v>0.10512977443779681</c:v>
                </c:pt>
                <c:pt idx="12">
                  <c:v>0.12410529471680354</c:v>
                </c:pt>
                <c:pt idx="13">
                  <c:v>0.11480759500314197</c:v>
                </c:pt>
                <c:pt idx="14">
                  <c:v>0.10469015867469089</c:v>
                </c:pt>
                <c:pt idx="15">
                  <c:v>0.11541946184081886</c:v>
                </c:pt>
                <c:pt idx="16">
                  <c:v>0.10921906813633808</c:v>
                </c:pt>
                <c:pt idx="17">
                  <c:v>0.12825515301797341</c:v>
                </c:pt>
                <c:pt idx="18">
                  <c:v>0.13749985009077204</c:v>
                </c:pt>
                <c:pt idx="19">
                  <c:v>0.14632559767764142</c:v>
                </c:pt>
                <c:pt idx="20">
                  <c:v>0.15679968929618182</c:v>
                </c:pt>
                <c:pt idx="21">
                  <c:v>0.13036704775570196</c:v>
                </c:pt>
                <c:pt idx="22">
                  <c:v>0.12046435419713331</c:v>
                </c:pt>
                <c:pt idx="23">
                  <c:v>9.7227380094745186E-2</c:v>
                </c:pt>
                <c:pt idx="24">
                  <c:v>0.105701815764907</c:v>
                </c:pt>
                <c:pt idx="25">
                  <c:v>0.10516488696317161</c:v>
                </c:pt>
                <c:pt idx="26">
                  <c:v>0.13239007137106573</c:v>
                </c:pt>
                <c:pt idx="27">
                  <c:v>0.13936389562560447</c:v>
                </c:pt>
                <c:pt idx="28">
                  <c:v>0.12749924363489673</c:v>
                </c:pt>
                <c:pt idx="29">
                  <c:v>0.12296568192616508</c:v>
                </c:pt>
                <c:pt idx="30">
                  <c:v>0.14476278270205656</c:v>
                </c:pt>
                <c:pt idx="31">
                  <c:v>0.16932538534910324</c:v>
                </c:pt>
                <c:pt idx="32">
                  <c:v>0.16530255522588688</c:v>
                </c:pt>
                <c:pt idx="33">
                  <c:v>0.16822035629391707</c:v>
                </c:pt>
                <c:pt idx="34">
                  <c:v>0.14371670067658093</c:v>
                </c:pt>
                <c:pt idx="35">
                  <c:v>0.17572338380167496</c:v>
                </c:pt>
                <c:pt idx="36">
                  <c:v>0.17252212417225965</c:v>
                </c:pt>
                <c:pt idx="37">
                  <c:v>0.1702840139416395</c:v>
                </c:pt>
                <c:pt idx="38">
                  <c:v>0.1530261866732463</c:v>
                </c:pt>
                <c:pt idx="39">
                  <c:v>0.14905378085491949</c:v>
                </c:pt>
                <c:pt idx="40">
                  <c:v>0.1352468655295449</c:v>
                </c:pt>
                <c:pt idx="41">
                  <c:v>0.14236645272202675</c:v>
                </c:pt>
                <c:pt idx="42">
                  <c:v>0.11703344850310837</c:v>
                </c:pt>
                <c:pt idx="43">
                  <c:v>0.13262544819069411</c:v>
                </c:pt>
                <c:pt idx="44">
                  <c:v>0.13325394205189522</c:v>
                </c:pt>
                <c:pt idx="45">
                  <c:v>0.12904243042704766</c:v>
                </c:pt>
                <c:pt idx="46">
                  <c:v>0.11387137438515649</c:v>
                </c:pt>
                <c:pt idx="47">
                  <c:v>0.14007475291901761</c:v>
                </c:pt>
                <c:pt idx="48">
                  <c:v>0.1307952284751086</c:v>
                </c:pt>
                <c:pt idx="49">
                  <c:v>0.1159265150954123</c:v>
                </c:pt>
                <c:pt idx="50">
                  <c:v>0.10732986359372321</c:v>
                </c:pt>
                <c:pt idx="51">
                  <c:v>0.12172083323397365</c:v>
                </c:pt>
                <c:pt idx="52">
                  <c:v>0.12376483293629281</c:v>
                </c:pt>
                <c:pt idx="53">
                  <c:v>0.11761649078233183</c:v>
                </c:pt>
                <c:pt idx="54">
                  <c:v>0.10800253020532402</c:v>
                </c:pt>
                <c:pt idx="55">
                  <c:v>9.0236263634746905E-2</c:v>
                </c:pt>
                <c:pt idx="56">
                  <c:v>9.5214064367250328E-2</c:v>
                </c:pt>
                <c:pt idx="57">
                  <c:v>9.5745790795500607E-2</c:v>
                </c:pt>
                <c:pt idx="58">
                  <c:v>0.13212071593964358</c:v>
                </c:pt>
                <c:pt idx="59">
                  <c:v>0.13157627908734826</c:v>
                </c:pt>
                <c:pt idx="60">
                  <c:v>0.15700585333439454</c:v>
                </c:pt>
                <c:pt idx="61">
                  <c:v>0.14944111766412349</c:v>
                </c:pt>
                <c:pt idx="62">
                  <c:v>0.13324986019248297</c:v>
                </c:pt>
                <c:pt idx="63">
                  <c:v>0.15522346165662926</c:v>
                </c:pt>
                <c:pt idx="64">
                  <c:v>0.15521283360078186</c:v>
                </c:pt>
                <c:pt idx="65">
                  <c:v>0.15358329037770457</c:v>
                </c:pt>
                <c:pt idx="66">
                  <c:v>0.16030683522734201</c:v>
                </c:pt>
                <c:pt idx="67">
                  <c:v>0.14356650836209939</c:v>
                </c:pt>
                <c:pt idx="68">
                  <c:v>0.13905879789943776</c:v>
                </c:pt>
                <c:pt idx="69">
                  <c:v>0.12310092585850607</c:v>
                </c:pt>
                <c:pt idx="70">
                  <c:v>0.10546869056289787</c:v>
                </c:pt>
                <c:pt idx="71">
                  <c:v>9.3936993917290934E-2</c:v>
                </c:pt>
                <c:pt idx="72">
                  <c:v>0.10511560787703367</c:v>
                </c:pt>
                <c:pt idx="73">
                  <c:v>7.2812968147227153E-2</c:v>
                </c:pt>
                <c:pt idx="74">
                  <c:v>5.5469230016378157E-2</c:v>
                </c:pt>
                <c:pt idx="75">
                  <c:v>6.9253130425777076E-2</c:v>
                </c:pt>
                <c:pt idx="76">
                  <c:v>7.6496037280655127E-2</c:v>
                </c:pt>
                <c:pt idx="77">
                  <c:v>5.190574595065689E-2</c:v>
                </c:pt>
                <c:pt idx="78">
                  <c:v>6.5711377722811548E-2</c:v>
                </c:pt>
                <c:pt idx="79">
                  <c:v>7.1467071731617038E-2</c:v>
                </c:pt>
                <c:pt idx="80">
                  <c:v>5.6372457918476337E-2</c:v>
                </c:pt>
                <c:pt idx="81">
                  <c:v>5.0630122874477212E-2</c:v>
                </c:pt>
                <c:pt idx="82">
                  <c:v>4.3850826943617305E-2</c:v>
                </c:pt>
                <c:pt idx="83">
                  <c:v>3.3320146646161897E-2</c:v>
                </c:pt>
                <c:pt idx="84">
                  <c:v>4.113721355554012E-2</c:v>
                </c:pt>
                <c:pt idx="85">
                  <c:v>3.270577205900338E-2</c:v>
                </c:pt>
                <c:pt idx="86">
                  <c:v>1.9600425999843019E-2</c:v>
                </c:pt>
                <c:pt idx="87">
                  <c:v>1.7979363282545791E-2</c:v>
                </c:pt>
                <c:pt idx="88">
                  <c:v>3.9788451363574673E-2</c:v>
                </c:pt>
                <c:pt idx="89">
                  <c:v>6.0065677890151159E-2</c:v>
                </c:pt>
                <c:pt idx="90">
                  <c:v>5.2543981872681611E-2</c:v>
                </c:pt>
                <c:pt idx="91">
                  <c:v>4.2541656412945494E-2</c:v>
                </c:pt>
                <c:pt idx="92">
                  <c:v>5.6328644294012742E-2</c:v>
                </c:pt>
                <c:pt idx="93">
                  <c:v>3.6916809696414976E-2</c:v>
                </c:pt>
                <c:pt idx="94">
                  <c:v>4.4377426142180765E-2</c:v>
                </c:pt>
                <c:pt idx="95">
                  <c:v>3.0652218007820142E-2</c:v>
                </c:pt>
                <c:pt idx="96">
                  <c:v>4.2758980417092696E-2</c:v>
                </c:pt>
                <c:pt idx="97">
                  <c:v>4.7584973254360952E-2</c:v>
                </c:pt>
                <c:pt idx="98">
                  <c:v>3.9689220552445503E-2</c:v>
                </c:pt>
                <c:pt idx="99">
                  <c:v>2.371959412475988E-2</c:v>
                </c:pt>
                <c:pt idx="100">
                  <c:v>3.3513314737832589E-2</c:v>
                </c:pt>
                <c:pt idx="101">
                  <c:v>2.3859680270192252E-2</c:v>
                </c:pt>
                <c:pt idx="102">
                  <c:v>3.2311539544854773E-2</c:v>
                </c:pt>
                <c:pt idx="103">
                  <c:v>5.6511649557233756E-3</c:v>
                </c:pt>
                <c:pt idx="104">
                  <c:v>-2.7610064740147822E-3</c:v>
                </c:pt>
                <c:pt idx="105">
                  <c:v>1.5480632170110642E-3</c:v>
                </c:pt>
                <c:pt idx="106">
                  <c:v>3.6059907153374482E-2</c:v>
                </c:pt>
                <c:pt idx="107">
                  <c:v>3.7773135815843295E-2</c:v>
                </c:pt>
                <c:pt idx="108">
                  <c:v>7.4535522710924562E-2</c:v>
                </c:pt>
                <c:pt idx="109">
                  <c:v>7.9092198048532403E-2</c:v>
                </c:pt>
                <c:pt idx="110">
                  <c:v>8.8525298316213252E-2</c:v>
                </c:pt>
                <c:pt idx="111">
                  <c:v>9.0575209158002323E-2</c:v>
                </c:pt>
                <c:pt idx="112">
                  <c:v>0.11563739086709957</c:v>
                </c:pt>
                <c:pt idx="113">
                  <c:v>7.633426653302533E-2</c:v>
                </c:pt>
                <c:pt idx="114">
                  <c:v>8.9420123278680652E-2</c:v>
                </c:pt>
                <c:pt idx="115">
                  <c:v>8.3453913973545069E-2</c:v>
                </c:pt>
                <c:pt idx="116">
                  <c:v>8.1666540051662961E-2</c:v>
                </c:pt>
                <c:pt idx="117">
                  <c:v>7.5418293283054494E-2</c:v>
                </c:pt>
                <c:pt idx="118">
                  <c:v>5.6339297341919892E-2</c:v>
                </c:pt>
                <c:pt idx="119">
                  <c:v>6.9163890215229173E-2</c:v>
                </c:pt>
                <c:pt idx="120">
                  <c:v>9.7088312699870727E-2</c:v>
                </c:pt>
                <c:pt idx="121">
                  <c:v>9.1543189532160563E-2</c:v>
                </c:pt>
                <c:pt idx="122">
                  <c:v>9.4540239667658899E-2</c:v>
                </c:pt>
                <c:pt idx="123">
                  <c:v>9.5884335081970695E-2</c:v>
                </c:pt>
                <c:pt idx="124">
                  <c:v>9.3841716269811304E-2</c:v>
                </c:pt>
                <c:pt idx="125">
                  <c:v>7.8519728429161884E-2</c:v>
                </c:pt>
                <c:pt idx="126">
                  <c:v>8.5477043493312754E-2</c:v>
                </c:pt>
                <c:pt idx="127">
                  <c:v>8.1400100265656139E-2</c:v>
                </c:pt>
                <c:pt idx="128">
                  <c:v>0.10248869990095688</c:v>
                </c:pt>
                <c:pt idx="129">
                  <c:v>0.10942765352926354</c:v>
                </c:pt>
                <c:pt idx="130">
                  <c:v>9.5860462754254083E-2</c:v>
                </c:pt>
                <c:pt idx="131">
                  <c:v>0.11288476462918751</c:v>
                </c:pt>
                <c:pt idx="132">
                  <c:v>0.1109236390969579</c:v>
                </c:pt>
                <c:pt idx="133">
                  <c:v>0.13504312441011979</c:v>
                </c:pt>
                <c:pt idx="134">
                  <c:v>0.14456341212042223</c:v>
                </c:pt>
                <c:pt idx="135">
                  <c:v>0.13511687245482751</c:v>
                </c:pt>
                <c:pt idx="136">
                  <c:v>0.11940344958943538</c:v>
                </c:pt>
                <c:pt idx="137">
                  <c:v>0.1393571518994019</c:v>
                </c:pt>
                <c:pt idx="138">
                  <c:v>0.14310404182913827</c:v>
                </c:pt>
                <c:pt idx="139">
                  <c:v>0.14194790640123234</c:v>
                </c:pt>
                <c:pt idx="140">
                  <c:v>0.14117823351231795</c:v>
                </c:pt>
                <c:pt idx="141">
                  <c:v>0.15833676119576245</c:v>
                </c:pt>
                <c:pt idx="142">
                  <c:v>0.15394400069627978</c:v>
                </c:pt>
                <c:pt idx="143">
                  <c:v>0.16370532839256979</c:v>
                </c:pt>
                <c:pt idx="144">
                  <c:v>0.15776705647231526</c:v>
                </c:pt>
                <c:pt idx="145">
                  <c:v>0.14612918202065561</c:v>
                </c:pt>
                <c:pt idx="146">
                  <c:v>0.16248559157727227</c:v>
                </c:pt>
                <c:pt idx="147">
                  <c:v>0.17706734584378103</c:v>
                </c:pt>
                <c:pt idx="148">
                  <c:v>0.1735639225956116</c:v>
                </c:pt>
                <c:pt idx="149">
                  <c:v>0.16980523206432241</c:v>
                </c:pt>
                <c:pt idx="150">
                  <c:v>0.17899791251945363</c:v>
                </c:pt>
                <c:pt idx="151">
                  <c:v>0.17605088933732005</c:v>
                </c:pt>
                <c:pt idx="152">
                  <c:v>0.14675099269054792</c:v>
                </c:pt>
                <c:pt idx="153">
                  <c:v>0.14544713681185861</c:v>
                </c:pt>
                <c:pt idx="154">
                  <c:v>0.15004725251329498</c:v>
                </c:pt>
                <c:pt idx="155">
                  <c:v>0.16057340500609874</c:v>
                </c:pt>
                <c:pt idx="156">
                  <c:v>0.16225751307410308</c:v>
                </c:pt>
                <c:pt idx="157">
                  <c:v>0.18500242770195818</c:v>
                </c:pt>
                <c:pt idx="158">
                  <c:v>0.18716316112862974</c:v>
                </c:pt>
                <c:pt idx="159">
                  <c:v>0.18270619447280456</c:v>
                </c:pt>
                <c:pt idx="160">
                  <c:v>0.20007719170412375</c:v>
                </c:pt>
                <c:pt idx="161">
                  <c:v>0.20432678504766733</c:v>
                </c:pt>
                <c:pt idx="162">
                  <c:v>0.21000590843523792</c:v>
                </c:pt>
                <c:pt idx="163">
                  <c:v>0.22828885571051272</c:v>
                </c:pt>
                <c:pt idx="164">
                  <c:v>0.23314882622590249</c:v>
                </c:pt>
                <c:pt idx="165">
                  <c:v>0.23018519965183382</c:v>
                </c:pt>
                <c:pt idx="166">
                  <c:v>0.21545004133040413</c:v>
                </c:pt>
                <c:pt idx="167">
                  <c:v>0.22654710020775082</c:v>
                </c:pt>
                <c:pt idx="168">
                  <c:v>0.24229216267840759</c:v>
                </c:pt>
                <c:pt idx="169">
                  <c:v>0.24357681700383327</c:v>
                </c:pt>
                <c:pt idx="170">
                  <c:v>0.23124103240988192</c:v>
                </c:pt>
                <c:pt idx="171">
                  <c:v>0.25880581039526773</c:v>
                </c:pt>
                <c:pt idx="172">
                  <c:v>0.25995283424969995</c:v>
                </c:pt>
                <c:pt idx="173">
                  <c:v>0.2579948675452759</c:v>
                </c:pt>
                <c:pt idx="174">
                  <c:v>0.23882579335259457</c:v>
                </c:pt>
                <c:pt idx="175">
                  <c:v>0.24006176984662253</c:v>
                </c:pt>
                <c:pt idx="176">
                  <c:v>0.22256722640998028</c:v>
                </c:pt>
                <c:pt idx="177">
                  <c:v>0.22481943975447272</c:v>
                </c:pt>
                <c:pt idx="178">
                  <c:v>0.21468577363772012</c:v>
                </c:pt>
                <c:pt idx="179">
                  <c:v>0.22776769648264361</c:v>
                </c:pt>
                <c:pt idx="180">
                  <c:v>0.21581230853814382</c:v>
                </c:pt>
                <c:pt idx="181">
                  <c:v>0.21366992566926868</c:v>
                </c:pt>
                <c:pt idx="182">
                  <c:v>0.22340525761103214</c:v>
                </c:pt>
                <c:pt idx="183">
                  <c:v>0.23764569480962461</c:v>
                </c:pt>
                <c:pt idx="184">
                  <c:v>0.22761767056742954</c:v>
                </c:pt>
                <c:pt idx="185">
                  <c:v>0.25093098946387449</c:v>
                </c:pt>
                <c:pt idx="186">
                  <c:v>0.25518640650383273</c:v>
                </c:pt>
                <c:pt idx="187">
                  <c:v>0.24817568834894632</c:v>
                </c:pt>
                <c:pt idx="188">
                  <c:v>0.23135290123894792</c:v>
                </c:pt>
                <c:pt idx="189">
                  <c:v>0.24310505646366254</c:v>
                </c:pt>
                <c:pt idx="190">
                  <c:v>0.25023824189866217</c:v>
                </c:pt>
                <c:pt idx="191">
                  <c:v>0.24595054984807074</c:v>
                </c:pt>
                <c:pt idx="192">
                  <c:v>0.23795964599662023</c:v>
                </c:pt>
                <c:pt idx="193">
                  <c:v>0.22267245371610178</c:v>
                </c:pt>
                <c:pt idx="194">
                  <c:v>0.23710206721312299</c:v>
                </c:pt>
                <c:pt idx="195">
                  <c:v>0.21902812972134611</c:v>
                </c:pt>
                <c:pt idx="196">
                  <c:v>0.23061925869280153</c:v>
                </c:pt>
                <c:pt idx="197">
                  <c:v>0.23124318265695876</c:v>
                </c:pt>
                <c:pt idx="198">
                  <c:v>0.22251022101100948</c:v>
                </c:pt>
                <c:pt idx="199">
                  <c:v>0.24378348811988837</c:v>
                </c:pt>
                <c:pt idx="200">
                  <c:v>0.2410954232453637</c:v>
                </c:pt>
                <c:pt idx="201">
                  <c:v>0.23207265951836997</c:v>
                </c:pt>
                <c:pt idx="202">
                  <c:v>0.22984236159010973</c:v>
                </c:pt>
                <c:pt idx="203">
                  <c:v>0.23335762001224269</c:v>
                </c:pt>
                <c:pt idx="204">
                  <c:v>0.22070867426868324</c:v>
                </c:pt>
                <c:pt idx="205">
                  <c:v>0.22402472938233409</c:v>
                </c:pt>
                <c:pt idx="206">
                  <c:v>0.20241261434552205</c:v>
                </c:pt>
                <c:pt idx="207">
                  <c:v>0.20443122464248531</c:v>
                </c:pt>
                <c:pt idx="208">
                  <c:v>0.21319526844859626</c:v>
                </c:pt>
                <c:pt idx="209">
                  <c:v>0.21751242381137059</c:v>
                </c:pt>
                <c:pt idx="210">
                  <c:v>0.22125785728074154</c:v>
                </c:pt>
                <c:pt idx="211">
                  <c:v>0.2334082738286134</c:v>
                </c:pt>
                <c:pt idx="212">
                  <c:v>0.22554196588061659</c:v>
                </c:pt>
                <c:pt idx="213">
                  <c:v>0.23360787032905983</c:v>
                </c:pt>
                <c:pt idx="214">
                  <c:v>0.23380981193743278</c:v>
                </c:pt>
                <c:pt idx="215">
                  <c:v>0.24510805514730616</c:v>
                </c:pt>
                <c:pt idx="216">
                  <c:v>0.24835741363882424</c:v>
                </c:pt>
                <c:pt idx="217">
                  <c:v>0.24580552141386369</c:v>
                </c:pt>
                <c:pt idx="218">
                  <c:v>0.24950543923191093</c:v>
                </c:pt>
                <c:pt idx="219">
                  <c:v>0.23677860158061437</c:v>
                </c:pt>
                <c:pt idx="220">
                  <c:v>0.23758782581962867</c:v>
                </c:pt>
                <c:pt idx="221">
                  <c:v>0.24135578571411909</c:v>
                </c:pt>
                <c:pt idx="222">
                  <c:v>0.24142790848526907</c:v>
                </c:pt>
                <c:pt idx="223">
                  <c:v>0.24896126546233011</c:v>
                </c:pt>
                <c:pt idx="224">
                  <c:v>0.25540553090373619</c:v>
                </c:pt>
                <c:pt idx="225">
                  <c:v>0.27281059872473867</c:v>
                </c:pt>
                <c:pt idx="226">
                  <c:v>0.27814456610081462</c:v>
                </c:pt>
                <c:pt idx="227">
                  <c:v>0.28026283509021344</c:v>
                </c:pt>
                <c:pt idx="228">
                  <c:v>0.27206454399942981</c:v>
                </c:pt>
                <c:pt idx="229">
                  <c:v>0.28482920287264646</c:v>
                </c:pt>
                <c:pt idx="230">
                  <c:v>0.27427741456113464</c:v>
                </c:pt>
                <c:pt idx="231">
                  <c:v>0.2590225299204576</c:v>
                </c:pt>
                <c:pt idx="232">
                  <c:v>0.26587715218235664</c:v>
                </c:pt>
                <c:pt idx="233">
                  <c:v>0.26863334650580328</c:v>
                </c:pt>
                <c:pt idx="234">
                  <c:v>0.26386886710966606</c:v>
                </c:pt>
                <c:pt idx="235">
                  <c:v>0.28194105442735373</c:v>
                </c:pt>
                <c:pt idx="236">
                  <c:v>0.27777551516509758</c:v>
                </c:pt>
                <c:pt idx="237">
                  <c:v>0.29472303515538689</c:v>
                </c:pt>
                <c:pt idx="238">
                  <c:v>0.29064155025936289</c:v>
                </c:pt>
                <c:pt idx="239">
                  <c:v>0.27384591550921766</c:v>
                </c:pt>
                <c:pt idx="240">
                  <c:v>0.28158720452235864</c:v>
                </c:pt>
                <c:pt idx="241">
                  <c:v>0.25710824812237942</c:v>
                </c:pt>
                <c:pt idx="242">
                  <c:v>0.24949494915010062</c:v>
                </c:pt>
                <c:pt idx="243">
                  <c:v>0.24150717783917397</c:v>
                </c:pt>
                <c:pt idx="244">
                  <c:v>0.25362763996426452</c:v>
                </c:pt>
                <c:pt idx="245">
                  <c:v>0.2404022444509335</c:v>
                </c:pt>
                <c:pt idx="246">
                  <c:v>0.26811320271264072</c:v>
                </c:pt>
                <c:pt idx="247">
                  <c:v>0.27063738204264021</c:v>
                </c:pt>
                <c:pt idx="248">
                  <c:v>0.28260068712204811</c:v>
                </c:pt>
                <c:pt idx="249">
                  <c:v>0.28821014122717648</c:v>
                </c:pt>
                <c:pt idx="250">
                  <c:v>0.29431277912921194</c:v>
                </c:pt>
                <c:pt idx="251">
                  <c:v>0.28749213907703464</c:v>
                </c:pt>
                <c:pt idx="252">
                  <c:v>0.29366566388390924</c:v>
                </c:pt>
                <c:pt idx="253">
                  <c:v>0.29282827409967727</c:v>
                </c:pt>
                <c:pt idx="254">
                  <c:v>0.30190909989695336</c:v>
                </c:pt>
                <c:pt idx="255">
                  <c:v>0.30705567675975587</c:v>
                </c:pt>
                <c:pt idx="256">
                  <c:v>0.30366164528391382</c:v>
                </c:pt>
                <c:pt idx="257">
                  <c:v>0.30778708256041476</c:v>
                </c:pt>
                <c:pt idx="258">
                  <c:v>0.29440057398332642</c:v>
                </c:pt>
                <c:pt idx="259">
                  <c:v>0.30107489166295642</c:v>
                </c:pt>
                <c:pt idx="260">
                  <c:v>0.30274937504852661</c:v>
                </c:pt>
                <c:pt idx="261">
                  <c:v>0.28323379858548714</c:v>
                </c:pt>
                <c:pt idx="262">
                  <c:v>0.28747899263796772</c:v>
                </c:pt>
                <c:pt idx="263">
                  <c:v>0.28142655389357674</c:v>
                </c:pt>
                <c:pt idx="264">
                  <c:v>0.28419686996043914</c:v>
                </c:pt>
                <c:pt idx="265">
                  <c:v>0.30369598681423149</c:v>
                </c:pt>
                <c:pt idx="266">
                  <c:v>0.30534216373678191</c:v>
                </c:pt>
                <c:pt idx="267">
                  <c:v>0.30389179805865396</c:v>
                </c:pt>
                <c:pt idx="268">
                  <c:v>0.30858789475854209</c:v>
                </c:pt>
                <c:pt idx="269">
                  <c:v>0.31892652427987134</c:v>
                </c:pt>
                <c:pt idx="270">
                  <c:v>0.31174272718007612</c:v>
                </c:pt>
                <c:pt idx="271">
                  <c:v>0.30995678945702032</c:v>
                </c:pt>
                <c:pt idx="272">
                  <c:v>0.31772850109751105</c:v>
                </c:pt>
                <c:pt idx="273">
                  <c:v>0.31169093265118253</c:v>
                </c:pt>
                <c:pt idx="274">
                  <c:v>0.30410135774576941</c:v>
                </c:pt>
                <c:pt idx="275">
                  <c:v>0.3034243987309635</c:v>
                </c:pt>
                <c:pt idx="276">
                  <c:v>0.31836086028578103</c:v>
                </c:pt>
                <c:pt idx="277">
                  <c:v>0.31816930245278141</c:v>
                </c:pt>
                <c:pt idx="278">
                  <c:v>0.30813117958074288</c:v>
                </c:pt>
                <c:pt idx="279">
                  <c:v>0.29976842776280099</c:v>
                </c:pt>
                <c:pt idx="280">
                  <c:v>0.28795782199024877</c:v>
                </c:pt>
                <c:pt idx="281">
                  <c:v>0.29828170550397615</c:v>
                </c:pt>
                <c:pt idx="282">
                  <c:v>0.28733602227304256</c:v>
                </c:pt>
                <c:pt idx="283">
                  <c:v>0.2893696269874273</c:v>
                </c:pt>
                <c:pt idx="284">
                  <c:v>0.31028552320249192</c:v>
                </c:pt>
                <c:pt idx="285">
                  <c:v>0.31254196590199901</c:v>
                </c:pt>
                <c:pt idx="286">
                  <c:v>0.31822199125943995</c:v>
                </c:pt>
                <c:pt idx="287">
                  <c:v>0.31791642740186599</c:v>
                </c:pt>
                <c:pt idx="288">
                  <c:v>0.33276222878997719</c:v>
                </c:pt>
                <c:pt idx="289">
                  <c:v>0.32839370075644947</c:v>
                </c:pt>
                <c:pt idx="290">
                  <c:v>0.3260383258856383</c:v>
                </c:pt>
                <c:pt idx="291">
                  <c:v>0.33225638480338127</c:v>
                </c:pt>
                <c:pt idx="292">
                  <c:v>0.32202492221936829</c:v>
                </c:pt>
                <c:pt idx="293">
                  <c:v>0.33173281562820955</c:v>
                </c:pt>
                <c:pt idx="294">
                  <c:v>0.32037899433528971</c:v>
                </c:pt>
                <c:pt idx="295">
                  <c:v>0.31896737715244572</c:v>
                </c:pt>
                <c:pt idx="296">
                  <c:v>0.33411993817464847</c:v>
                </c:pt>
                <c:pt idx="297">
                  <c:v>0.33775768301006925</c:v>
                </c:pt>
                <c:pt idx="298">
                  <c:v>0.33016189488593817</c:v>
                </c:pt>
                <c:pt idx="299">
                  <c:v>0.33899802733747575</c:v>
                </c:pt>
                <c:pt idx="300">
                  <c:v>0.34067900546099517</c:v>
                </c:pt>
                <c:pt idx="301">
                  <c:v>0.35648802415759007</c:v>
                </c:pt>
                <c:pt idx="302">
                  <c:v>0.35585291646467954</c:v>
                </c:pt>
                <c:pt idx="303">
                  <c:v>0.36117653735588662</c:v>
                </c:pt>
                <c:pt idx="304">
                  <c:v>0.36501124389692552</c:v>
                </c:pt>
                <c:pt idx="305">
                  <c:v>0.36254958261968184</c:v>
                </c:pt>
                <c:pt idx="306">
                  <c:v>0.36484888504035262</c:v>
                </c:pt>
                <c:pt idx="307">
                  <c:v>0.38177069097174865</c:v>
                </c:pt>
                <c:pt idx="308">
                  <c:v>0.38197560756521964</c:v>
                </c:pt>
                <c:pt idx="309">
                  <c:v>0.38480962494365367</c:v>
                </c:pt>
                <c:pt idx="310">
                  <c:v>0.38053651788396503</c:v>
                </c:pt>
                <c:pt idx="311">
                  <c:v>0.39763874232116314</c:v>
                </c:pt>
                <c:pt idx="312">
                  <c:v>0.39945427504743836</c:v>
                </c:pt>
                <c:pt idx="313">
                  <c:v>0.40276230506279531</c:v>
                </c:pt>
                <c:pt idx="314">
                  <c:v>0.40971846305737136</c:v>
                </c:pt>
                <c:pt idx="315">
                  <c:v>0.39718874438587126</c:v>
                </c:pt>
                <c:pt idx="316">
                  <c:v>0.40388742610195494</c:v>
                </c:pt>
                <c:pt idx="317">
                  <c:v>0.39640049445855308</c:v>
                </c:pt>
                <c:pt idx="318">
                  <c:v>0.4079851726006305</c:v>
                </c:pt>
                <c:pt idx="319">
                  <c:v>0.40988088383702004</c:v>
                </c:pt>
                <c:pt idx="320">
                  <c:v>0.41956944428265963</c:v>
                </c:pt>
                <c:pt idx="321">
                  <c:v>0.41825265166614289</c:v>
                </c:pt>
                <c:pt idx="322">
                  <c:v>0.42927332572117982</c:v>
                </c:pt>
                <c:pt idx="323">
                  <c:v>0.42469807887821376</c:v>
                </c:pt>
                <c:pt idx="324">
                  <c:v>0.42172031742355043</c:v>
                </c:pt>
                <c:pt idx="325">
                  <c:v>0.43893137924221648</c:v>
                </c:pt>
                <c:pt idx="326">
                  <c:v>0.42482668607660834</c:v>
                </c:pt>
                <c:pt idx="327">
                  <c:v>0.40543764453247788</c:v>
                </c:pt>
                <c:pt idx="328">
                  <c:v>0.41245710284809545</c:v>
                </c:pt>
                <c:pt idx="329">
                  <c:v>0.40873626710206268</c:v>
                </c:pt>
                <c:pt idx="330">
                  <c:v>0.41388717038909451</c:v>
                </c:pt>
                <c:pt idx="331">
                  <c:v>0.41484804811009091</c:v>
                </c:pt>
                <c:pt idx="332">
                  <c:v>0.40300421361455663</c:v>
                </c:pt>
                <c:pt idx="333">
                  <c:v>0.40557620093895497</c:v>
                </c:pt>
                <c:pt idx="334">
                  <c:v>0.42321829062504035</c:v>
                </c:pt>
                <c:pt idx="335">
                  <c:v>0.41954667207888585</c:v>
                </c:pt>
                <c:pt idx="336">
                  <c:v>0.42668755965811167</c:v>
                </c:pt>
                <c:pt idx="337">
                  <c:v>0.44190632119449691</c:v>
                </c:pt>
                <c:pt idx="338">
                  <c:v>0.43486433910304734</c:v>
                </c:pt>
                <c:pt idx="339">
                  <c:v>0.42702251851698136</c:v>
                </c:pt>
                <c:pt idx="340">
                  <c:v>0.44094255237610702</c:v>
                </c:pt>
                <c:pt idx="341">
                  <c:v>0.43451104938783147</c:v>
                </c:pt>
                <c:pt idx="342">
                  <c:v>0.4285781985897732</c:v>
                </c:pt>
                <c:pt idx="343">
                  <c:v>0.42490360974736063</c:v>
                </c:pt>
                <c:pt idx="344">
                  <c:v>0.42102559208307233</c:v>
                </c:pt>
                <c:pt idx="345">
                  <c:v>0.41865858975433956</c:v>
                </c:pt>
                <c:pt idx="346">
                  <c:v>0.42435351093119023</c:v>
                </c:pt>
                <c:pt idx="347">
                  <c:v>0.42590306511573206</c:v>
                </c:pt>
                <c:pt idx="348">
                  <c:v>0.42594199226940965</c:v>
                </c:pt>
                <c:pt idx="349">
                  <c:v>0.43966739691599899</c:v>
                </c:pt>
                <c:pt idx="350">
                  <c:v>0.43112225108160418</c:v>
                </c:pt>
                <c:pt idx="351">
                  <c:v>0.43353583875805324</c:v>
                </c:pt>
                <c:pt idx="352">
                  <c:v>0.43831281023354673</c:v>
                </c:pt>
                <c:pt idx="353">
                  <c:v>0.44080123522653181</c:v>
                </c:pt>
                <c:pt idx="354">
                  <c:v>0.4287702567521432</c:v>
                </c:pt>
                <c:pt idx="355">
                  <c:v>0.4205066782181659</c:v>
                </c:pt>
                <c:pt idx="356">
                  <c:v>0.39972850088386536</c:v>
                </c:pt>
                <c:pt idx="357">
                  <c:v>0.37841777443075864</c:v>
                </c:pt>
                <c:pt idx="358">
                  <c:v>0.39559189500772374</c:v>
                </c:pt>
                <c:pt idx="359">
                  <c:v>0.37556529087355228</c:v>
                </c:pt>
                <c:pt idx="360">
                  <c:v>0.38329693070396509</c:v>
                </c:pt>
                <c:pt idx="361">
                  <c:v>0.39955260625543976</c:v>
                </c:pt>
                <c:pt idx="362">
                  <c:v>0.39776663717459715</c:v>
                </c:pt>
                <c:pt idx="363">
                  <c:v>0.38214519723753382</c:v>
                </c:pt>
                <c:pt idx="364">
                  <c:v>0.36423867692020329</c:v>
                </c:pt>
                <c:pt idx="365">
                  <c:v>0.36242956001073945</c:v>
                </c:pt>
                <c:pt idx="366">
                  <c:v>0.35917321711935779</c:v>
                </c:pt>
                <c:pt idx="367">
                  <c:v>0.38141309663643841</c:v>
                </c:pt>
                <c:pt idx="368">
                  <c:v>0.38001137676728147</c:v>
                </c:pt>
                <c:pt idx="369">
                  <c:v>0.39795124866298082</c:v>
                </c:pt>
                <c:pt idx="370">
                  <c:v>0.40359631560020692</c:v>
                </c:pt>
                <c:pt idx="371">
                  <c:v>0.40261478069670775</c:v>
                </c:pt>
                <c:pt idx="372">
                  <c:v>0.41003292974885652</c:v>
                </c:pt>
                <c:pt idx="373">
                  <c:v>0.42204119318847666</c:v>
                </c:pt>
                <c:pt idx="374">
                  <c:v>0.43294768032375508</c:v>
                </c:pt>
                <c:pt idx="375">
                  <c:v>0.42994479516486872</c:v>
                </c:pt>
                <c:pt idx="376">
                  <c:v>0.4204479598022608</c:v>
                </c:pt>
                <c:pt idx="377">
                  <c:v>0.41893504068027543</c:v>
                </c:pt>
                <c:pt idx="378">
                  <c:v>0.4262648334199175</c:v>
                </c:pt>
                <c:pt idx="379">
                  <c:v>0.40663843092667618</c:v>
                </c:pt>
                <c:pt idx="380">
                  <c:v>0.40505540003651119</c:v>
                </c:pt>
                <c:pt idx="381">
                  <c:v>0.40588466373361265</c:v>
                </c:pt>
                <c:pt idx="382">
                  <c:v>0.41307773202713927</c:v>
                </c:pt>
                <c:pt idx="383">
                  <c:v>0.41458209458065554</c:v>
                </c:pt>
                <c:pt idx="384">
                  <c:v>0.39257968468154814</c:v>
                </c:pt>
                <c:pt idx="385">
                  <c:v>0.39997233319564862</c:v>
                </c:pt>
                <c:pt idx="386">
                  <c:v>0.41970466323757472</c:v>
                </c:pt>
                <c:pt idx="387">
                  <c:v>0.42053476455416994</c:v>
                </c:pt>
                <c:pt idx="388">
                  <c:v>0.41421920904443854</c:v>
                </c:pt>
                <c:pt idx="389">
                  <c:v>0.41743783054230299</c:v>
                </c:pt>
                <c:pt idx="390">
                  <c:v>0.39787662150568703</c:v>
                </c:pt>
                <c:pt idx="391">
                  <c:v>0.38726450134586443</c:v>
                </c:pt>
                <c:pt idx="392">
                  <c:v>0.3790678490396624</c:v>
                </c:pt>
                <c:pt idx="393">
                  <c:v>0.39175472162368785</c:v>
                </c:pt>
                <c:pt idx="394">
                  <c:v>0.39432278743602778</c:v>
                </c:pt>
                <c:pt idx="395">
                  <c:v>0.39678976274383837</c:v>
                </c:pt>
                <c:pt idx="396">
                  <c:v>0.38739565319450464</c:v>
                </c:pt>
                <c:pt idx="397">
                  <c:v>0.36835073432353838</c:v>
                </c:pt>
                <c:pt idx="398">
                  <c:v>0.35393269630611801</c:v>
                </c:pt>
                <c:pt idx="399">
                  <c:v>0.36430734098483319</c:v>
                </c:pt>
                <c:pt idx="400">
                  <c:v>0.36658532495207563</c:v>
                </c:pt>
                <c:pt idx="401">
                  <c:v>0.36553100437387509</c:v>
                </c:pt>
                <c:pt idx="402">
                  <c:v>0.36460981715832452</c:v>
                </c:pt>
                <c:pt idx="403">
                  <c:v>0.35016310240701465</c:v>
                </c:pt>
                <c:pt idx="404">
                  <c:v>0.35937134978174079</c:v>
                </c:pt>
                <c:pt idx="405">
                  <c:v>0.35587790134993669</c:v>
                </c:pt>
                <c:pt idx="406">
                  <c:v>0.35650214753571818</c:v>
                </c:pt>
                <c:pt idx="407">
                  <c:v>0.36194402720098706</c:v>
                </c:pt>
                <c:pt idx="408">
                  <c:v>0.36424952605023297</c:v>
                </c:pt>
                <c:pt idx="409">
                  <c:v>0.3862202189674615</c:v>
                </c:pt>
                <c:pt idx="410">
                  <c:v>0.38858122924440686</c:v>
                </c:pt>
                <c:pt idx="411">
                  <c:v>0.39646878720088408</c:v>
                </c:pt>
                <c:pt idx="412">
                  <c:v>0.39572949662493984</c:v>
                </c:pt>
                <c:pt idx="413">
                  <c:v>0.39636971774504182</c:v>
                </c:pt>
                <c:pt idx="414">
                  <c:v>0.40109154194559649</c:v>
                </c:pt>
                <c:pt idx="415">
                  <c:v>0.39069614325013102</c:v>
                </c:pt>
                <c:pt idx="416">
                  <c:v>0.39799743707180868</c:v>
                </c:pt>
                <c:pt idx="417">
                  <c:v>0.4203094761674746</c:v>
                </c:pt>
                <c:pt idx="418">
                  <c:v>0.4225062688342629</c:v>
                </c:pt>
                <c:pt idx="419">
                  <c:v>0.40898520449836639</c:v>
                </c:pt>
                <c:pt idx="420">
                  <c:v>0.41539397370102726</c:v>
                </c:pt>
                <c:pt idx="421">
                  <c:v>0.40146621392101456</c:v>
                </c:pt>
                <c:pt idx="422">
                  <c:v>0.40984025484243536</c:v>
                </c:pt>
                <c:pt idx="423">
                  <c:v>0.41176877532703426</c:v>
                </c:pt>
                <c:pt idx="424">
                  <c:v>0.40988349930446266</c:v>
                </c:pt>
                <c:pt idx="425">
                  <c:v>0.41357922692118931</c:v>
                </c:pt>
                <c:pt idx="426">
                  <c:v>0.40770665338086798</c:v>
                </c:pt>
                <c:pt idx="427">
                  <c:v>0.41282943866318633</c:v>
                </c:pt>
                <c:pt idx="428">
                  <c:v>0.42484187968247622</c:v>
                </c:pt>
                <c:pt idx="429">
                  <c:v>0.42059570839683436</c:v>
                </c:pt>
                <c:pt idx="430">
                  <c:v>0.41285303560735898</c:v>
                </c:pt>
                <c:pt idx="431">
                  <c:v>0.4115013591081933</c:v>
                </c:pt>
                <c:pt idx="432">
                  <c:v>0.415058342533146</c:v>
                </c:pt>
                <c:pt idx="433">
                  <c:v>0.4208278184073222</c:v>
                </c:pt>
                <c:pt idx="434">
                  <c:v>0.40601654089711681</c:v>
                </c:pt>
                <c:pt idx="435">
                  <c:v>0.40157873088908325</c:v>
                </c:pt>
                <c:pt idx="436">
                  <c:v>0.3901585272319259</c:v>
                </c:pt>
                <c:pt idx="437">
                  <c:v>0.3927934337044412</c:v>
                </c:pt>
                <c:pt idx="438">
                  <c:v>0.38131082679895179</c:v>
                </c:pt>
                <c:pt idx="439">
                  <c:v>0.38592592440236984</c:v>
                </c:pt>
                <c:pt idx="440">
                  <c:v>0.3878434915113731</c:v>
                </c:pt>
                <c:pt idx="441">
                  <c:v>0.38882053332939726</c:v>
                </c:pt>
                <c:pt idx="442">
                  <c:v>0.38425367476965011</c:v>
                </c:pt>
                <c:pt idx="443">
                  <c:v>0.37829750805785123</c:v>
                </c:pt>
                <c:pt idx="444">
                  <c:v>0.37170676503382016</c:v>
                </c:pt>
                <c:pt idx="445">
                  <c:v>0.37109662986473313</c:v>
                </c:pt>
                <c:pt idx="446">
                  <c:v>0.38076272399561639</c:v>
                </c:pt>
                <c:pt idx="447">
                  <c:v>0.36234956268977303</c:v>
                </c:pt>
                <c:pt idx="448">
                  <c:v>0.36604044012501213</c:v>
                </c:pt>
                <c:pt idx="449">
                  <c:v>0.35278643275469923</c:v>
                </c:pt>
                <c:pt idx="450">
                  <c:v>0.35012617823468717</c:v>
                </c:pt>
                <c:pt idx="451">
                  <c:v>0.3635264505789022</c:v>
                </c:pt>
                <c:pt idx="452">
                  <c:v>0.36426739085214677</c:v>
                </c:pt>
                <c:pt idx="453">
                  <c:v>0.37050045570747203</c:v>
                </c:pt>
                <c:pt idx="454">
                  <c:v>0.37211120489306526</c:v>
                </c:pt>
                <c:pt idx="455">
                  <c:v>0.37821092525441746</c:v>
                </c:pt>
                <c:pt idx="456">
                  <c:v>0.36958111972484442</c:v>
                </c:pt>
                <c:pt idx="457">
                  <c:v>0.36826810230536422</c:v>
                </c:pt>
                <c:pt idx="458">
                  <c:v>0.34593673543444869</c:v>
                </c:pt>
                <c:pt idx="459">
                  <c:v>0.32510028883318798</c:v>
                </c:pt>
                <c:pt idx="460">
                  <c:v>0.32665701665250935</c:v>
                </c:pt>
                <c:pt idx="461">
                  <c:v>0.34386402348989575</c:v>
                </c:pt>
                <c:pt idx="462">
                  <c:v>0.33982396507607815</c:v>
                </c:pt>
                <c:pt idx="463">
                  <c:v>0.32418125231902195</c:v>
                </c:pt>
                <c:pt idx="464">
                  <c:v>0.32613494933869336</c:v>
                </c:pt>
                <c:pt idx="465">
                  <c:v>0.34424080241550947</c:v>
                </c:pt>
                <c:pt idx="466">
                  <c:v>0.34719651909186067</c:v>
                </c:pt>
                <c:pt idx="467">
                  <c:v>0.3639542965928444</c:v>
                </c:pt>
                <c:pt idx="468">
                  <c:v>0.35905115368745233</c:v>
                </c:pt>
                <c:pt idx="469">
                  <c:v>0.36791760341410917</c:v>
                </c:pt>
                <c:pt idx="470">
                  <c:v>0.36458822875915953</c:v>
                </c:pt>
                <c:pt idx="471">
                  <c:v>0.36522562792081303</c:v>
                </c:pt>
                <c:pt idx="472">
                  <c:v>0.37614825207955627</c:v>
                </c:pt>
                <c:pt idx="473">
                  <c:v>0.37630472013581762</c:v>
                </c:pt>
                <c:pt idx="474">
                  <c:v>0.37964391064781111</c:v>
                </c:pt>
                <c:pt idx="475">
                  <c:v>0.3689155236698316</c:v>
                </c:pt>
                <c:pt idx="476">
                  <c:v>0.37524579972593797</c:v>
                </c:pt>
                <c:pt idx="477">
                  <c:v>0.37733122245664252</c:v>
                </c:pt>
                <c:pt idx="478">
                  <c:v>0.39277151865974802</c:v>
                </c:pt>
                <c:pt idx="479">
                  <c:v>0.38694527684289048</c:v>
                </c:pt>
                <c:pt idx="480">
                  <c:v>0.39649189857245548</c:v>
                </c:pt>
                <c:pt idx="481">
                  <c:v>0.39023058749601591</c:v>
                </c:pt>
                <c:pt idx="482">
                  <c:v>0.39286465739014464</c:v>
                </c:pt>
                <c:pt idx="483">
                  <c:v>0.39975474099085662</c:v>
                </c:pt>
                <c:pt idx="484">
                  <c:v>0.40212130633144971</c:v>
                </c:pt>
                <c:pt idx="485">
                  <c:v>0.4052526638448799</c:v>
                </c:pt>
                <c:pt idx="486">
                  <c:v>0.39533495264452823</c:v>
                </c:pt>
                <c:pt idx="487">
                  <c:v>0.39924230911241887</c:v>
                </c:pt>
                <c:pt idx="488">
                  <c:v>0.40552406753494807</c:v>
                </c:pt>
                <c:pt idx="489">
                  <c:v>0.39762080570319891</c:v>
                </c:pt>
                <c:pt idx="490">
                  <c:v>0.40646439111336652</c:v>
                </c:pt>
                <c:pt idx="491">
                  <c:v>0.38686263754085859</c:v>
                </c:pt>
                <c:pt idx="492">
                  <c:v>0.38038071894552017</c:v>
                </c:pt>
                <c:pt idx="493">
                  <c:v>0.38255633699665026</c:v>
                </c:pt>
                <c:pt idx="494">
                  <c:v>0.37434796176826746</c:v>
                </c:pt>
                <c:pt idx="495">
                  <c:v>0.38249715800757222</c:v>
                </c:pt>
                <c:pt idx="496">
                  <c:v>0.38840705685862287</c:v>
                </c:pt>
                <c:pt idx="497">
                  <c:v>0.38813173573924775</c:v>
                </c:pt>
                <c:pt idx="498">
                  <c:v>0.4092016321033396</c:v>
                </c:pt>
                <c:pt idx="499">
                  <c:v>0.41376674079053855</c:v>
                </c:pt>
                <c:pt idx="500">
                  <c:v>0.41291452219918989</c:v>
                </c:pt>
                <c:pt idx="501">
                  <c:v>0.42234035755968513</c:v>
                </c:pt>
                <c:pt idx="502">
                  <c:v>0.40814369398281047</c:v>
                </c:pt>
                <c:pt idx="503">
                  <c:v>0.39754192092518337</c:v>
                </c:pt>
                <c:pt idx="504">
                  <c:v>0.39754192092518337</c:v>
                </c:pt>
                <c:pt idx="505">
                  <c:v>0.39754192092518337</c:v>
                </c:pt>
                <c:pt idx="506">
                  <c:v>0.39754192092518337</c:v>
                </c:pt>
                <c:pt idx="507">
                  <c:v>0.39754192092518337</c:v>
                </c:pt>
                <c:pt idx="508">
                  <c:v>0.39754192092518337</c:v>
                </c:pt>
              </c:numCache>
            </c:numRef>
          </c:val>
          <c:smooth val="0"/>
          <c:extLst>
            <c:ext xmlns:c16="http://schemas.microsoft.com/office/drawing/2014/chart" uri="{C3380CC4-5D6E-409C-BE32-E72D297353CC}">
              <c16:uniqueId val="{00000004-FEDF-4824-BFB3-214DAB16BA7B}"/>
            </c:ext>
          </c:extLst>
        </c:ser>
        <c:ser>
          <c:idx val="8"/>
          <c:order val="8"/>
          <c:tx>
            <c:strRef>
              <c:f>Chart!$J$4</c:f>
              <c:strCache>
                <c:ptCount val="1"/>
                <c:pt idx="0">
                  <c:v>Mar '09</c:v>
                </c:pt>
              </c:strCache>
            </c:strRef>
          </c:tx>
          <c:spPr>
            <a:ln w="15875" cap="rnd">
              <a:solidFill>
                <a:schemeClr val="accent3">
                  <a:lumMod val="60000"/>
                </a:schemeClr>
              </a:solidFill>
              <a:round/>
            </a:ln>
            <a:effectLst/>
          </c:spPr>
          <c:marker>
            <c:symbol val="none"/>
          </c:marker>
          <c:cat>
            <c:numRef>
              <c:f>Chart!$A$5:$A$513</c:f>
              <c:numCache>
                <c:formatCode>General</c:formatCode>
                <c:ptCount val="50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pt idx="100">
                  <c:v>101</c:v>
                </c:pt>
                <c:pt idx="101">
                  <c:v>102</c:v>
                </c:pt>
                <c:pt idx="102">
                  <c:v>103</c:v>
                </c:pt>
                <c:pt idx="103">
                  <c:v>104</c:v>
                </c:pt>
                <c:pt idx="104">
                  <c:v>105</c:v>
                </c:pt>
                <c:pt idx="105">
                  <c:v>106</c:v>
                </c:pt>
                <c:pt idx="106">
                  <c:v>107</c:v>
                </c:pt>
                <c:pt idx="107">
                  <c:v>108</c:v>
                </c:pt>
                <c:pt idx="108">
                  <c:v>109</c:v>
                </c:pt>
                <c:pt idx="109">
                  <c:v>110</c:v>
                </c:pt>
                <c:pt idx="110">
                  <c:v>111</c:v>
                </c:pt>
                <c:pt idx="111">
                  <c:v>112</c:v>
                </c:pt>
                <c:pt idx="112">
                  <c:v>113</c:v>
                </c:pt>
                <c:pt idx="113">
                  <c:v>114</c:v>
                </c:pt>
                <c:pt idx="114">
                  <c:v>115</c:v>
                </c:pt>
                <c:pt idx="115">
                  <c:v>116</c:v>
                </c:pt>
                <c:pt idx="116">
                  <c:v>117</c:v>
                </c:pt>
                <c:pt idx="117">
                  <c:v>118</c:v>
                </c:pt>
                <c:pt idx="118">
                  <c:v>119</c:v>
                </c:pt>
                <c:pt idx="119">
                  <c:v>120</c:v>
                </c:pt>
                <c:pt idx="120">
                  <c:v>121</c:v>
                </c:pt>
                <c:pt idx="121">
                  <c:v>122</c:v>
                </c:pt>
                <c:pt idx="122">
                  <c:v>123</c:v>
                </c:pt>
                <c:pt idx="123">
                  <c:v>124</c:v>
                </c:pt>
                <c:pt idx="124">
                  <c:v>125</c:v>
                </c:pt>
                <c:pt idx="125">
                  <c:v>126</c:v>
                </c:pt>
                <c:pt idx="126">
                  <c:v>127</c:v>
                </c:pt>
                <c:pt idx="127">
                  <c:v>128</c:v>
                </c:pt>
                <c:pt idx="128">
                  <c:v>129</c:v>
                </c:pt>
                <c:pt idx="129">
                  <c:v>130</c:v>
                </c:pt>
                <c:pt idx="130">
                  <c:v>131</c:v>
                </c:pt>
                <c:pt idx="131">
                  <c:v>132</c:v>
                </c:pt>
                <c:pt idx="132">
                  <c:v>133</c:v>
                </c:pt>
                <c:pt idx="133">
                  <c:v>134</c:v>
                </c:pt>
                <c:pt idx="134">
                  <c:v>135</c:v>
                </c:pt>
                <c:pt idx="135">
                  <c:v>136</c:v>
                </c:pt>
                <c:pt idx="136">
                  <c:v>137</c:v>
                </c:pt>
                <c:pt idx="137">
                  <c:v>138</c:v>
                </c:pt>
                <c:pt idx="138">
                  <c:v>139</c:v>
                </c:pt>
                <c:pt idx="139">
                  <c:v>140</c:v>
                </c:pt>
                <c:pt idx="140">
                  <c:v>141</c:v>
                </c:pt>
                <c:pt idx="141">
                  <c:v>142</c:v>
                </c:pt>
                <c:pt idx="142">
                  <c:v>143</c:v>
                </c:pt>
                <c:pt idx="143">
                  <c:v>144</c:v>
                </c:pt>
                <c:pt idx="144">
                  <c:v>145</c:v>
                </c:pt>
                <c:pt idx="145">
                  <c:v>146</c:v>
                </c:pt>
                <c:pt idx="146">
                  <c:v>147</c:v>
                </c:pt>
                <c:pt idx="147">
                  <c:v>148</c:v>
                </c:pt>
                <c:pt idx="148">
                  <c:v>149</c:v>
                </c:pt>
                <c:pt idx="149">
                  <c:v>150</c:v>
                </c:pt>
                <c:pt idx="150">
                  <c:v>151</c:v>
                </c:pt>
                <c:pt idx="151">
                  <c:v>152</c:v>
                </c:pt>
                <c:pt idx="152">
                  <c:v>153</c:v>
                </c:pt>
                <c:pt idx="153">
                  <c:v>154</c:v>
                </c:pt>
                <c:pt idx="154">
                  <c:v>155</c:v>
                </c:pt>
                <c:pt idx="155">
                  <c:v>156</c:v>
                </c:pt>
                <c:pt idx="156">
                  <c:v>157</c:v>
                </c:pt>
                <c:pt idx="157">
                  <c:v>158</c:v>
                </c:pt>
                <c:pt idx="158">
                  <c:v>159</c:v>
                </c:pt>
                <c:pt idx="159">
                  <c:v>160</c:v>
                </c:pt>
                <c:pt idx="160">
                  <c:v>161</c:v>
                </c:pt>
                <c:pt idx="161">
                  <c:v>162</c:v>
                </c:pt>
                <c:pt idx="162">
                  <c:v>163</c:v>
                </c:pt>
                <c:pt idx="163">
                  <c:v>164</c:v>
                </c:pt>
                <c:pt idx="164">
                  <c:v>165</c:v>
                </c:pt>
                <c:pt idx="165">
                  <c:v>166</c:v>
                </c:pt>
                <c:pt idx="166">
                  <c:v>167</c:v>
                </c:pt>
                <c:pt idx="167">
                  <c:v>168</c:v>
                </c:pt>
                <c:pt idx="168">
                  <c:v>169</c:v>
                </c:pt>
                <c:pt idx="169">
                  <c:v>170</c:v>
                </c:pt>
                <c:pt idx="170">
                  <c:v>171</c:v>
                </c:pt>
                <c:pt idx="171">
                  <c:v>172</c:v>
                </c:pt>
                <c:pt idx="172">
                  <c:v>173</c:v>
                </c:pt>
                <c:pt idx="173">
                  <c:v>174</c:v>
                </c:pt>
                <c:pt idx="174">
                  <c:v>175</c:v>
                </c:pt>
                <c:pt idx="175">
                  <c:v>176</c:v>
                </c:pt>
                <c:pt idx="176">
                  <c:v>177</c:v>
                </c:pt>
                <c:pt idx="177">
                  <c:v>178</c:v>
                </c:pt>
                <c:pt idx="178">
                  <c:v>179</c:v>
                </c:pt>
                <c:pt idx="179">
                  <c:v>180</c:v>
                </c:pt>
                <c:pt idx="180">
                  <c:v>181</c:v>
                </c:pt>
                <c:pt idx="181">
                  <c:v>182</c:v>
                </c:pt>
                <c:pt idx="182">
                  <c:v>183</c:v>
                </c:pt>
                <c:pt idx="183">
                  <c:v>184</c:v>
                </c:pt>
                <c:pt idx="184">
                  <c:v>185</c:v>
                </c:pt>
                <c:pt idx="185">
                  <c:v>186</c:v>
                </c:pt>
                <c:pt idx="186">
                  <c:v>187</c:v>
                </c:pt>
                <c:pt idx="187">
                  <c:v>188</c:v>
                </c:pt>
                <c:pt idx="188">
                  <c:v>189</c:v>
                </c:pt>
                <c:pt idx="189">
                  <c:v>190</c:v>
                </c:pt>
                <c:pt idx="190">
                  <c:v>191</c:v>
                </c:pt>
                <c:pt idx="191">
                  <c:v>192</c:v>
                </c:pt>
                <c:pt idx="192">
                  <c:v>193</c:v>
                </c:pt>
                <c:pt idx="193">
                  <c:v>194</c:v>
                </c:pt>
                <c:pt idx="194">
                  <c:v>195</c:v>
                </c:pt>
                <c:pt idx="195">
                  <c:v>196</c:v>
                </c:pt>
                <c:pt idx="196">
                  <c:v>197</c:v>
                </c:pt>
                <c:pt idx="197">
                  <c:v>198</c:v>
                </c:pt>
                <c:pt idx="198">
                  <c:v>199</c:v>
                </c:pt>
                <c:pt idx="199">
                  <c:v>200</c:v>
                </c:pt>
                <c:pt idx="200">
                  <c:v>201</c:v>
                </c:pt>
                <c:pt idx="201">
                  <c:v>202</c:v>
                </c:pt>
                <c:pt idx="202">
                  <c:v>203</c:v>
                </c:pt>
                <c:pt idx="203">
                  <c:v>204</c:v>
                </c:pt>
                <c:pt idx="204">
                  <c:v>205</c:v>
                </c:pt>
                <c:pt idx="205">
                  <c:v>206</c:v>
                </c:pt>
                <c:pt idx="206">
                  <c:v>207</c:v>
                </c:pt>
                <c:pt idx="207">
                  <c:v>208</c:v>
                </c:pt>
                <c:pt idx="208">
                  <c:v>209</c:v>
                </c:pt>
                <c:pt idx="209">
                  <c:v>210</c:v>
                </c:pt>
                <c:pt idx="210">
                  <c:v>211</c:v>
                </c:pt>
                <c:pt idx="211">
                  <c:v>212</c:v>
                </c:pt>
                <c:pt idx="212">
                  <c:v>213</c:v>
                </c:pt>
                <c:pt idx="213">
                  <c:v>214</c:v>
                </c:pt>
                <c:pt idx="214">
                  <c:v>215</c:v>
                </c:pt>
                <c:pt idx="215">
                  <c:v>216</c:v>
                </c:pt>
                <c:pt idx="216">
                  <c:v>217</c:v>
                </c:pt>
                <c:pt idx="217">
                  <c:v>218</c:v>
                </c:pt>
                <c:pt idx="218">
                  <c:v>219</c:v>
                </c:pt>
                <c:pt idx="219">
                  <c:v>220</c:v>
                </c:pt>
                <c:pt idx="220">
                  <c:v>221</c:v>
                </c:pt>
                <c:pt idx="221">
                  <c:v>222</c:v>
                </c:pt>
                <c:pt idx="222">
                  <c:v>223</c:v>
                </c:pt>
                <c:pt idx="223">
                  <c:v>224</c:v>
                </c:pt>
                <c:pt idx="224">
                  <c:v>225</c:v>
                </c:pt>
                <c:pt idx="225">
                  <c:v>226</c:v>
                </c:pt>
                <c:pt idx="226">
                  <c:v>227</c:v>
                </c:pt>
                <c:pt idx="227">
                  <c:v>228</c:v>
                </c:pt>
                <c:pt idx="228">
                  <c:v>229</c:v>
                </c:pt>
                <c:pt idx="229">
                  <c:v>230</c:v>
                </c:pt>
                <c:pt idx="230">
                  <c:v>231</c:v>
                </c:pt>
                <c:pt idx="231">
                  <c:v>232</c:v>
                </c:pt>
                <c:pt idx="232">
                  <c:v>233</c:v>
                </c:pt>
                <c:pt idx="233">
                  <c:v>234</c:v>
                </c:pt>
                <c:pt idx="234">
                  <c:v>235</c:v>
                </c:pt>
                <c:pt idx="235">
                  <c:v>236</c:v>
                </c:pt>
                <c:pt idx="236">
                  <c:v>237</c:v>
                </c:pt>
                <c:pt idx="237">
                  <c:v>238</c:v>
                </c:pt>
                <c:pt idx="238">
                  <c:v>239</c:v>
                </c:pt>
                <c:pt idx="239">
                  <c:v>240</c:v>
                </c:pt>
                <c:pt idx="240">
                  <c:v>241</c:v>
                </c:pt>
                <c:pt idx="241">
                  <c:v>242</c:v>
                </c:pt>
                <c:pt idx="242">
                  <c:v>243</c:v>
                </c:pt>
                <c:pt idx="243">
                  <c:v>244</c:v>
                </c:pt>
                <c:pt idx="244">
                  <c:v>245</c:v>
                </c:pt>
                <c:pt idx="245">
                  <c:v>246</c:v>
                </c:pt>
                <c:pt idx="246">
                  <c:v>247</c:v>
                </c:pt>
                <c:pt idx="247">
                  <c:v>248</c:v>
                </c:pt>
                <c:pt idx="248">
                  <c:v>249</c:v>
                </c:pt>
                <c:pt idx="249">
                  <c:v>250</c:v>
                </c:pt>
                <c:pt idx="250">
                  <c:v>251</c:v>
                </c:pt>
                <c:pt idx="251">
                  <c:v>252</c:v>
                </c:pt>
                <c:pt idx="252">
                  <c:v>253</c:v>
                </c:pt>
                <c:pt idx="253">
                  <c:v>254</c:v>
                </c:pt>
                <c:pt idx="254">
                  <c:v>255</c:v>
                </c:pt>
                <c:pt idx="255">
                  <c:v>256</c:v>
                </c:pt>
                <c:pt idx="256">
                  <c:v>257</c:v>
                </c:pt>
                <c:pt idx="257">
                  <c:v>258</c:v>
                </c:pt>
                <c:pt idx="258">
                  <c:v>259</c:v>
                </c:pt>
                <c:pt idx="259">
                  <c:v>260</c:v>
                </c:pt>
                <c:pt idx="260">
                  <c:v>261</c:v>
                </c:pt>
                <c:pt idx="261">
                  <c:v>262</c:v>
                </c:pt>
                <c:pt idx="262">
                  <c:v>263</c:v>
                </c:pt>
                <c:pt idx="263">
                  <c:v>264</c:v>
                </c:pt>
                <c:pt idx="264">
                  <c:v>265</c:v>
                </c:pt>
                <c:pt idx="265">
                  <c:v>266</c:v>
                </c:pt>
                <c:pt idx="266">
                  <c:v>267</c:v>
                </c:pt>
                <c:pt idx="267">
                  <c:v>268</c:v>
                </c:pt>
                <c:pt idx="268">
                  <c:v>269</c:v>
                </c:pt>
                <c:pt idx="269">
                  <c:v>270</c:v>
                </c:pt>
                <c:pt idx="270">
                  <c:v>271</c:v>
                </c:pt>
                <c:pt idx="271">
                  <c:v>272</c:v>
                </c:pt>
                <c:pt idx="272">
                  <c:v>273</c:v>
                </c:pt>
                <c:pt idx="273">
                  <c:v>274</c:v>
                </c:pt>
                <c:pt idx="274">
                  <c:v>275</c:v>
                </c:pt>
                <c:pt idx="275">
                  <c:v>276</c:v>
                </c:pt>
                <c:pt idx="276">
                  <c:v>277</c:v>
                </c:pt>
                <c:pt idx="277">
                  <c:v>278</c:v>
                </c:pt>
                <c:pt idx="278">
                  <c:v>279</c:v>
                </c:pt>
                <c:pt idx="279">
                  <c:v>280</c:v>
                </c:pt>
                <c:pt idx="280">
                  <c:v>281</c:v>
                </c:pt>
                <c:pt idx="281">
                  <c:v>282</c:v>
                </c:pt>
                <c:pt idx="282">
                  <c:v>283</c:v>
                </c:pt>
                <c:pt idx="283">
                  <c:v>284</c:v>
                </c:pt>
                <c:pt idx="284">
                  <c:v>285</c:v>
                </c:pt>
                <c:pt idx="285">
                  <c:v>286</c:v>
                </c:pt>
                <c:pt idx="286">
                  <c:v>287</c:v>
                </c:pt>
                <c:pt idx="287">
                  <c:v>288</c:v>
                </c:pt>
                <c:pt idx="288">
                  <c:v>289</c:v>
                </c:pt>
                <c:pt idx="289">
                  <c:v>290</c:v>
                </c:pt>
                <c:pt idx="290">
                  <c:v>291</c:v>
                </c:pt>
                <c:pt idx="291">
                  <c:v>292</c:v>
                </c:pt>
                <c:pt idx="292">
                  <c:v>293</c:v>
                </c:pt>
                <c:pt idx="293">
                  <c:v>294</c:v>
                </c:pt>
                <c:pt idx="294">
                  <c:v>295</c:v>
                </c:pt>
                <c:pt idx="295">
                  <c:v>296</c:v>
                </c:pt>
                <c:pt idx="296">
                  <c:v>297</c:v>
                </c:pt>
                <c:pt idx="297">
                  <c:v>298</c:v>
                </c:pt>
                <c:pt idx="298">
                  <c:v>299</c:v>
                </c:pt>
                <c:pt idx="299">
                  <c:v>300</c:v>
                </c:pt>
                <c:pt idx="300">
                  <c:v>301</c:v>
                </c:pt>
                <c:pt idx="301">
                  <c:v>302</c:v>
                </c:pt>
                <c:pt idx="302">
                  <c:v>303</c:v>
                </c:pt>
                <c:pt idx="303">
                  <c:v>304</c:v>
                </c:pt>
                <c:pt idx="304">
                  <c:v>305</c:v>
                </c:pt>
                <c:pt idx="305">
                  <c:v>306</c:v>
                </c:pt>
                <c:pt idx="306">
                  <c:v>307</c:v>
                </c:pt>
                <c:pt idx="307">
                  <c:v>308</c:v>
                </c:pt>
                <c:pt idx="308">
                  <c:v>309</c:v>
                </c:pt>
                <c:pt idx="309">
                  <c:v>310</c:v>
                </c:pt>
                <c:pt idx="310">
                  <c:v>311</c:v>
                </c:pt>
                <c:pt idx="311">
                  <c:v>312</c:v>
                </c:pt>
                <c:pt idx="312">
                  <c:v>313</c:v>
                </c:pt>
                <c:pt idx="313">
                  <c:v>314</c:v>
                </c:pt>
                <c:pt idx="314">
                  <c:v>315</c:v>
                </c:pt>
                <c:pt idx="315">
                  <c:v>316</c:v>
                </c:pt>
                <c:pt idx="316">
                  <c:v>317</c:v>
                </c:pt>
                <c:pt idx="317">
                  <c:v>318</c:v>
                </c:pt>
                <c:pt idx="318">
                  <c:v>319</c:v>
                </c:pt>
                <c:pt idx="319">
                  <c:v>320</c:v>
                </c:pt>
                <c:pt idx="320">
                  <c:v>321</c:v>
                </c:pt>
                <c:pt idx="321">
                  <c:v>322</c:v>
                </c:pt>
                <c:pt idx="322">
                  <c:v>323</c:v>
                </c:pt>
                <c:pt idx="323">
                  <c:v>324</c:v>
                </c:pt>
                <c:pt idx="324">
                  <c:v>325</c:v>
                </c:pt>
                <c:pt idx="325">
                  <c:v>326</c:v>
                </c:pt>
                <c:pt idx="326">
                  <c:v>327</c:v>
                </c:pt>
                <c:pt idx="327">
                  <c:v>328</c:v>
                </c:pt>
                <c:pt idx="328">
                  <c:v>329</c:v>
                </c:pt>
                <c:pt idx="329">
                  <c:v>330</c:v>
                </c:pt>
                <c:pt idx="330">
                  <c:v>331</c:v>
                </c:pt>
                <c:pt idx="331">
                  <c:v>332</c:v>
                </c:pt>
                <c:pt idx="332">
                  <c:v>333</c:v>
                </c:pt>
                <c:pt idx="333">
                  <c:v>334</c:v>
                </c:pt>
                <c:pt idx="334">
                  <c:v>335</c:v>
                </c:pt>
                <c:pt idx="335">
                  <c:v>336</c:v>
                </c:pt>
                <c:pt idx="336">
                  <c:v>337</c:v>
                </c:pt>
                <c:pt idx="337">
                  <c:v>338</c:v>
                </c:pt>
                <c:pt idx="338">
                  <c:v>339</c:v>
                </c:pt>
                <c:pt idx="339">
                  <c:v>340</c:v>
                </c:pt>
                <c:pt idx="340">
                  <c:v>341</c:v>
                </c:pt>
                <c:pt idx="341">
                  <c:v>342</c:v>
                </c:pt>
                <c:pt idx="342">
                  <c:v>343</c:v>
                </c:pt>
                <c:pt idx="343">
                  <c:v>344</c:v>
                </c:pt>
                <c:pt idx="344">
                  <c:v>345</c:v>
                </c:pt>
                <c:pt idx="345">
                  <c:v>346</c:v>
                </c:pt>
                <c:pt idx="346">
                  <c:v>347</c:v>
                </c:pt>
                <c:pt idx="347">
                  <c:v>348</c:v>
                </c:pt>
                <c:pt idx="348">
                  <c:v>349</c:v>
                </c:pt>
                <c:pt idx="349">
                  <c:v>350</c:v>
                </c:pt>
                <c:pt idx="350">
                  <c:v>351</c:v>
                </c:pt>
                <c:pt idx="351">
                  <c:v>352</c:v>
                </c:pt>
                <c:pt idx="352">
                  <c:v>353</c:v>
                </c:pt>
                <c:pt idx="353">
                  <c:v>354</c:v>
                </c:pt>
                <c:pt idx="354">
                  <c:v>355</c:v>
                </c:pt>
                <c:pt idx="355">
                  <c:v>356</c:v>
                </c:pt>
                <c:pt idx="356">
                  <c:v>357</c:v>
                </c:pt>
                <c:pt idx="357">
                  <c:v>358</c:v>
                </c:pt>
                <c:pt idx="358">
                  <c:v>359</c:v>
                </c:pt>
                <c:pt idx="359">
                  <c:v>360</c:v>
                </c:pt>
                <c:pt idx="360">
                  <c:v>361</c:v>
                </c:pt>
                <c:pt idx="361">
                  <c:v>362</c:v>
                </c:pt>
                <c:pt idx="362">
                  <c:v>363</c:v>
                </c:pt>
                <c:pt idx="363">
                  <c:v>364</c:v>
                </c:pt>
                <c:pt idx="364">
                  <c:v>365</c:v>
                </c:pt>
                <c:pt idx="365">
                  <c:v>366</c:v>
                </c:pt>
                <c:pt idx="366">
                  <c:v>367</c:v>
                </c:pt>
                <c:pt idx="367">
                  <c:v>368</c:v>
                </c:pt>
                <c:pt idx="368">
                  <c:v>369</c:v>
                </c:pt>
                <c:pt idx="369">
                  <c:v>370</c:v>
                </c:pt>
                <c:pt idx="370">
                  <c:v>371</c:v>
                </c:pt>
                <c:pt idx="371">
                  <c:v>372</c:v>
                </c:pt>
                <c:pt idx="372">
                  <c:v>373</c:v>
                </c:pt>
                <c:pt idx="373">
                  <c:v>374</c:v>
                </c:pt>
                <c:pt idx="374">
                  <c:v>375</c:v>
                </c:pt>
                <c:pt idx="375">
                  <c:v>376</c:v>
                </c:pt>
                <c:pt idx="376">
                  <c:v>377</c:v>
                </c:pt>
                <c:pt idx="377">
                  <c:v>378</c:v>
                </c:pt>
                <c:pt idx="378">
                  <c:v>379</c:v>
                </c:pt>
                <c:pt idx="379">
                  <c:v>380</c:v>
                </c:pt>
                <c:pt idx="380">
                  <c:v>381</c:v>
                </c:pt>
                <c:pt idx="381">
                  <c:v>382</c:v>
                </c:pt>
                <c:pt idx="382">
                  <c:v>383</c:v>
                </c:pt>
                <c:pt idx="383">
                  <c:v>384</c:v>
                </c:pt>
                <c:pt idx="384">
                  <c:v>385</c:v>
                </c:pt>
                <c:pt idx="385">
                  <c:v>386</c:v>
                </c:pt>
                <c:pt idx="386">
                  <c:v>387</c:v>
                </c:pt>
                <c:pt idx="387">
                  <c:v>388</c:v>
                </c:pt>
                <c:pt idx="388">
                  <c:v>389</c:v>
                </c:pt>
                <c:pt idx="389">
                  <c:v>390</c:v>
                </c:pt>
                <c:pt idx="390">
                  <c:v>391</c:v>
                </c:pt>
                <c:pt idx="391">
                  <c:v>392</c:v>
                </c:pt>
                <c:pt idx="392">
                  <c:v>393</c:v>
                </c:pt>
                <c:pt idx="393">
                  <c:v>394</c:v>
                </c:pt>
                <c:pt idx="394">
                  <c:v>395</c:v>
                </c:pt>
                <c:pt idx="395">
                  <c:v>396</c:v>
                </c:pt>
                <c:pt idx="396">
                  <c:v>397</c:v>
                </c:pt>
                <c:pt idx="397">
                  <c:v>398</c:v>
                </c:pt>
                <c:pt idx="398">
                  <c:v>399</c:v>
                </c:pt>
                <c:pt idx="399">
                  <c:v>400</c:v>
                </c:pt>
                <c:pt idx="400">
                  <c:v>401</c:v>
                </c:pt>
                <c:pt idx="401">
                  <c:v>402</c:v>
                </c:pt>
                <c:pt idx="402">
                  <c:v>403</c:v>
                </c:pt>
                <c:pt idx="403">
                  <c:v>404</c:v>
                </c:pt>
                <c:pt idx="404">
                  <c:v>405</c:v>
                </c:pt>
                <c:pt idx="405">
                  <c:v>406</c:v>
                </c:pt>
                <c:pt idx="406">
                  <c:v>407</c:v>
                </c:pt>
                <c:pt idx="407">
                  <c:v>408</c:v>
                </c:pt>
                <c:pt idx="408">
                  <c:v>409</c:v>
                </c:pt>
                <c:pt idx="409">
                  <c:v>410</c:v>
                </c:pt>
                <c:pt idx="410">
                  <c:v>411</c:v>
                </c:pt>
                <c:pt idx="411">
                  <c:v>412</c:v>
                </c:pt>
                <c:pt idx="412">
                  <c:v>413</c:v>
                </c:pt>
                <c:pt idx="413">
                  <c:v>414</c:v>
                </c:pt>
                <c:pt idx="414">
                  <c:v>415</c:v>
                </c:pt>
                <c:pt idx="415">
                  <c:v>416</c:v>
                </c:pt>
                <c:pt idx="416">
                  <c:v>417</c:v>
                </c:pt>
                <c:pt idx="417">
                  <c:v>418</c:v>
                </c:pt>
                <c:pt idx="418">
                  <c:v>419</c:v>
                </c:pt>
                <c:pt idx="419">
                  <c:v>420</c:v>
                </c:pt>
                <c:pt idx="420">
                  <c:v>421</c:v>
                </c:pt>
                <c:pt idx="421">
                  <c:v>422</c:v>
                </c:pt>
                <c:pt idx="422">
                  <c:v>423</c:v>
                </c:pt>
                <c:pt idx="423">
                  <c:v>424</c:v>
                </c:pt>
                <c:pt idx="424">
                  <c:v>425</c:v>
                </c:pt>
                <c:pt idx="425">
                  <c:v>426</c:v>
                </c:pt>
                <c:pt idx="426">
                  <c:v>427</c:v>
                </c:pt>
                <c:pt idx="427">
                  <c:v>428</c:v>
                </c:pt>
                <c:pt idx="428">
                  <c:v>429</c:v>
                </c:pt>
                <c:pt idx="429">
                  <c:v>430</c:v>
                </c:pt>
                <c:pt idx="430">
                  <c:v>431</c:v>
                </c:pt>
                <c:pt idx="431">
                  <c:v>432</c:v>
                </c:pt>
                <c:pt idx="432">
                  <c:v>433</c:v>
                </c:pt>
                <c:pt idx="433">
                  <c:v>434</c:v>
                </c:pt>
                <c:pt idx="434">
                  <c:v>435</c:v>
                </c:pt>
                <c:pt idx="435">
                  <c:v>436</c:v>
                </c:pt>
                <c:pt idx="436">
                  <c:v>437</c:v>
                </c:pt>
                <c:pt idx="437">
                  <c:v>438</c:v>
                </c:pt>
                <c:pt idx="438">
                  <c:v>439</c:v>
                </c:pt>
                <c:pt idx="439">
                  <c:v>440</c:v>
                </c:pt>
                <c:pt idx="440">
                  <c:v>441</c:v>
                </c:pt>
                <c:pt idx="441">
                  <c:v>442</c:v>
                </c:pt>
                <c:pt idx="442">
                  <c:v>443</c:v>
                </c:pt>
                <c:pt idx="443">
                  <c:v>444</c:v>
                </c:pt>
                <c:pt idx="444">
                  <c:v>445</c:v>
                </c:pt>
                <c:pt idx="445">
                  <c:v>446</c:v>
                </c:pt>
                <c:pt idx="446">
                  <c:v>447</c:v>
                </c:pt>
                <c:pt idx="447">
                  <c:v>448</c:v>
                </c:pt>
                <c:pt idx="448">
                  <c:v>449</c:v>
                </c:pt>
                <c:pt idx="449">
                  <c:v>450</c:v>
                </c:pt>
                <c:pt idx="450">
                  <c:v>451</c:v>
                </c:pt>
                <c:pt idx="451">
                  <c:v>452</c:v>
                </c:pt>
                <c:pt idx="452">
                  <c:v>453</c:v>
                </c:pt>
                <c:pt idx="453">
                  <c:v>454</c:v>
                </c:pt>
                <c:pt idx="454">
                  <c:v>455</c:v>
                </c:pt>
                <c:pt idx="455">
                  <c:v>456</c:v>
                </c:pt>
                <c:pt idx="456">
                  <c:v>457</c:v>
                </c:pt>
                <c:pt idx="457">
                  <c:v>458</c:v>
                </c:pt>
                <c:pt idx="458">
                  <c:v>459</c:v>
                </c:pt>
                <c:pt idx="459">
                  <c:v>460</c:v>
                </c:pt>
                <c:pt idx="460">
                  <c:v>461</c:v>
                </c:pt>
                <c:pt idx="461">
                  <c:v>462</c:v>
                </c:pt>
                <c:pt idx="462">
                  <c:v>463</c:v>
                </c:pt>
                <c:pt idx="463">
                  <c:v>464</c:v>
                </c:pt>
                <c:pt idx="464">
                  <c:v>465</c:v>
                </c:pt>
                <c:pt idx="465">
                  <c:v>466</c:v>
                </c:pt>
                <c:pt idx="466">
                  <c:v>467</c:v>
                </c:pt>
                <c:pt idx="467">
                  <c:v>468</c:v>
                </c:pt>
                <c:pt idx="468">
                  <c:v>469</c:v>
                </c:pt>
                <c:pt idx="469">
                  <c:v>470</c:v>
                </c:pt>
                <c:pt idx="470">
                  <c:v>471</c:v>
                </c:pt>
                <c:pt idx="471">
                  <c:v>472</c:v>
                </c:pt>
                <c:pt idx="472">
                  <c:v>473</c:v>
                </c:pt>
                <c:pt idx="473">
                  <c:v>474</c:v>
                </c:pt>
                <c:pt idx="474">
                  <c:v>475</c:v>
                </c:pt>
                <c:pt idx="475">
                  <c:v>476</c:v>
                </c:pt>
                <c:pt idx="476">
                  <c:v>477</c:v>
                </c:pt>
                <c:pt idx="477">
                  <c:v>478</c:v>
                </c:pt>
                <c:pt idx="478">
                  <c:v>479</c:v>
                </c:pt>
                <c:pt idx="479">
                  <c:v>480</c:v>
                </c:pt>
                <c:pt idx="480">
                  <c:v>481</c:v>
                </c:pt>
                <c:pt idx="481">
                  <c:v>482</c:v>
                </c:pt>
                <c:pt idx="482">
                  <c:v>483</c:v>
                </c:pt>
                <c:pt idx="483">
                  <c:v>484</c:v>
                </c:pt>
                <c:pt idx="484">
                  <c:v>485</c:v>
                </c:pt>
                <c:pt idx="485">
                  <c:v>486</c:v>
                </c:pt>
                <c:pt idx="486">
                  <c:v>487</c:v>
                </c:pt>
                <c:pt idx="487">
                  <c:v>488</c:v>
                </c:pt>
                <c:pt idx="488">
                  <c:v>489</c:v>
                </c:pt>
                <c:pt idx="489">
                  <c:v>490</c:v>
                </c:pt>
                <c:pt idx="490">
                  <c:v>491</c:v>
                </c:pt>
                <c:pt idx="491">
                  <c:v>492</c:v>
                </c:pt>
                <c:pt idx="492">
                  <c:v>493</c:v>
                </c:pt>
                <c:pt idx="493">
                  <c:v>494</c:v>
                </c:pt>
                <c:pt idx="494">
                  <c:v>495</c:v>
                </c:pt>
                <c:pt idx="495">
                  <c:v>496</c:v>
                </c:pt>
                <c:pt idx="496">
                  <c:v>497</c:v>
                </c:pt>
                <c:pt idx="497">
                  <c:v>498</c:v>
                </c:pt>
                <c:pt idx="498">
                  <c:v>499</c:v>
                </c:pt>
                <c:pt idx="499">
                  <c:v>500</c:v>
                </c:pt>
                <c:pt idx="500">
                  <c:v>501</c:v>
                </c:pt>
                <c:pt idx="501">
                  <c:v>502</c:v>
                </c:pt>
                <c:pt idx="502">
                  <c:v>503</c:v>
                </c:pt>
                <c:pt idx="503">
                  <c:v>504</c:v>
                </c:pt>
                <c:pt idx="504">
                  <c:v>505</c:v>
                </c:pt>
                <c:pt idx="505">
                  <c:v>506</c:v>
                </c:pt>
                <c:pt idx="506">
                  <c:v>507</c:v>
                </c:pt>
                <c:pt idx="507">
                  <c:v>508</c:v>
                </c:pt>
                <c:pt idx="508">
                  <c:v>509</c:v>
                </c:pt>
              </c:numCache>
            </c:numRef>
          </c:cat>
          <c:val>
            <c:numRef>
              <c:f>Chart!$J$5:$J$513</c:f>
              <c:numCache>
                <c:formatCode>0%</c:formatCode>
                <c:ptCount val="509"/>
                <c:pt idx="0">
                  <c:v>-1.0029300000000001E-2</c:v>
                </c:pt>
                <c:pt idx="1">
                  <c:v>5.2992333759069865E-2</c:v>
                </c:pt>
                <c:pt idx="2">
                  <c:v>5.5567426511277773E-2</c:v>
                </c:pt>
                <c:pt idx="3">
                  <c:v>9.8563221154905678E-2</c:v>
                </c:pt>
                <c:pt idx="4">
                  <c:v>0.10706862718205334</c:v>
                </c:pt>
                <c:pt idx="5">
                  <c:v>0.10317550964770494</c:v>
                </c:pt>
                <c:pt idx="6">
                  <c:v>0.13862583401513184</c:v>
                </c:pt>
                <c:pt idx="7">
                  <c:v>0.16237597483651989</c:v>
                </c:pt>
                <c:pt idx="8">
                  <c:v>0.14728914834632412</c:v>
                </c:pt>
                <c:pt idx="9">
                  <c:v>0.12461504344972596</c:v>
                </c:pt>
                <c:pt idx="10">
                  <c:v>0.20417683439061163</c:v>
                </c:pt>
                <c:pt idx="11">
                  <c:v>0.17960319773120248</c:v>
                </c:pt>
                <c:pt idx="12">
                  <c:v>0.19095558094584786</c:v>
                </c:pt>
                <c:pt idx="13">
                  <c:v>0.21872652137345949</c:v>
                </c:pt>
                <c:pt idx="14">
                  <c:v>0.19396748272849695</c:v>
                </c:pt>
                <c:pt idx="15">
                  <c:v>0.15240201214901794</c:v>
                </c:pt>
                <c:pt idx="16">
                  <c:v>0.16752313991123002</c:v>
                </c:pt>
                <c:pt idx="17">
                  <c:v>0.18685148549246056</c:v>
                </c:pt>
                <c:pt idx="18">
                  <c:v>0.22095067815184732</c:v>
                </c:pt>
                <c:pt idx="19">
                  <c:v>0.23283577833818092</c:v>
                </c:pt>
                <c:pt idx="20">
                  <c:v>0.22256058526004363</c:v>
                </c:pt>
                <c:pt idx="21">
                  <c:v>0.1934036156061183</c:v>
                </c:pt>
                <c:pt idx="22">
                  <c:v>0.2074566592220497</c:v>
                </c:pt>
                <c:pt idx="23">
                  <c:v>0.25340883730206332</c:v>
                </c:pt>
                <c:pt idx="24">
                  <c:v>0.25658710609081004</c:v>
                </c:pt>
                <c:pt idx="25">
                  <c:v>0.23137908913165406</c:v>
                </c:pt>
                <c:pt idx="26">
                  <c:v>0.24682686294271972</c:v>
                </c:pt>
                <c:pt idx="27">
                  <c:v>0.26620118088330025</c:v>
                </c:pt>
                <c:pt idx="28">
                  <c:v>0.27248445100319763</c:v>
                </c:pt>
                <c:pt idx="29">
                  <c:v>0.21804387598437303</c:v>
                </c:pt>
                <c:pt idx="30">
                  <c:v>0.24392450684812617</c:v>
                </c:pt>
                <c:pt idx="31">
                  <c:v>0.23437713747316535</c:v>
                </c:pt>
                <c:pt idx="32">
                  <c:v>0.24662265242775416</c:v>
                </c:pt>
                <c:pt idx="33">
                  <c:v>0.26755880723942149</c:v>
                </c:pt>
                <c:pt idx="34">
                  <c:v>0.25479347600347468</c:v>
                </c:pt>
                <c:pt idx="35">
                  <c:v>0.25135760050748202</c:v>
                </c:pt>
                <c:pt idx="36">
                  <c:v>0.27840757207885192</c:v>
                </c:pt>
                <c:pt idx="37">
                  <c:v>0.27718439171388698</c:v>
                </c:pt>
                <c:pt idx="38">
                  <c:v>0.28408501898231719</c:v>
                </c:pt>
                <c:pt idx="39">
                  <c:v>0.32756644907809251</c:v>
                </c:pt>
                <c:pt idx="40">
                  <c:v>0.32253789288227441</c:v>
                </c:pt>
                <c:pt idx="41">
                  <c:v>0.3455608970291475</c:v>
                </c:pt>
                <c:pt idx="42">
                  <c:v>0.32778724858419972</c:v>
                </c:pt>
                <c:pt idx="43">
                  <c:v>0.35974961045339371</c:v>
                </c:pt>
                <c:pt idx="44">
                  <c:v>0.33049582135913846</c:v>
                </c:pt>
                <c:pt idx="45">
                  <c:v>0.32918874226423522</c:v>
                </c:pt>
                <c:pt idx="46">
                  <c:v>0.29343994520329009</c:v>
                </c:pt>
                <c:pt idx="47">
                  <c:v>0.30682847142008396</c:v>
                </c:pt>
                <c:pt idx="48">
                  <c:v>0.29191703582979223</c:v>
                </c:pt>
                <c:pt idx="49">
                  <c:v>0.33118110757443486</c:v>
                </c:pt>
                <c:pt idx="50">
                  <c:v>0.3288719077071256</c:v>
                </c:pt>
                <c:pt idx="51">
                  <c:v>0.32205692101564032</c:v>
                </c:pt>
                <c:pt idx="52">
                  <c:v>0.29990070128203117</c:v>
                </c:pt>
                <c:pt idx="53">
                  <c:v>0.29795487992228198</c:v>
                </c:pt>
                <c:pt idx="54">
                  <c:v>0.33209304019655783</c:v>
                </c:pt>
                <c:pt idx="55">
                  <c:v>0.30682003820073267</c:v>
                </c:pt>
                <c:pt idx="56">
                  <c:v>0.32697447023988335</c:v>
                </c:pt>
                <c:pt idx="57">
                  <c:v>0.34498323886784976</c:v>
                </c:pt>
                <c:pt idx="58">
                  <c:v>0.37970855412223536</c:v>
                </c:pt>
                <c:pt idx="59">
                  <c:v>0.38243858343827708</c:v>
                </c:pt>
                <c:pt idx="60">
                  <c:v>0.36345383085963601</c:v>
                </c:pt>
                <c:pt idx="61">
                  <c:v>0.37911350714320813</c:v>
                </c:pt>
                <c:pt idx="62">
                  <c:v>0.37563717572575217</c:v>
                </c:pt>
                <c:pt idx="63">
                  <c:v>0.37424241719328388</c:v>
                </c:pt>
                <c:pt idx="64">
                  <c:v>0.37906985595640053</c:v>
                </c:pt>
                <c:pt idx="65">
                  <c:v>0.37426890006685953</c:v>
                </c:pt>
                <c:pt idx="66">
                  <c:v>0.38266485848492793</c:v>
                </c:pt>
                <c:pt idx="67">
                  <c:v>0.38459091063279738</c:v>
                </c:pt>
                <c:pt idx="68">
                  <c:v>0.35168666147797323</c:v>
                </c:pt>
                <c:pt idx="69">
                  <c:v>0.33448617837333372</c:v>
                </c:pt>
                <c:pt idx="70">
                  <c:v>0.33264205192343965</c:v>
                </c:pt>
                <c:pt idx="71">
                  <c:v>0.34385676784719621</c:v>
                </c:pt>
                <c:pt idx="72">
                  <c:v>0.34803669993790809</c:v>
                </c:pt>
                <c:pt idx="73">
                  <c:v>0.30679486514000764</c:v>
                </c:pt>
                <c:pt idx="74">
                  <c:v>0.30980258420161388</c:v>
                </c:pt>
                <c:pt idx="75">
                  <c:v>0.31835218958973144</c:v>
                </c:pt>
                <c:pt idx="76">
                  <c:v>0.34662807551683317</c:v>
                </c:pt>
                <c:pt idx="77">
                  <c:v>0.34463883652367966</c:v>
                </c:pt>
                <c:pt idx="78">
                  <c:v>0.3568199197437476</c:v>
                </c:pt>
                <c:pt idx="79">
                  <c:v>0.34525262288195635</c:v>
                </c:pt>
                <c:pt idx="80">
                  <c:v>0.35111187068091865</c:v>
                </c:pt>
                <c:pt idx="81">
                  <c:v>0.31174168676996028</c:v>
                </c:pt>
                <c:pt idx="82">
                  <c:v>0.31510394306148903</c:v>
                </c:pt>
                <c:pt idx="83">
                  <c:v>0.28922453860755915</c:v>
                </c:pt>
                <c:pt idx="84">
                  <c:v>0.28707011548109196</c:v>
                </c:pt>
                <c:pt idx="85">
                  <c:v>0.29163908568403851</c:v>
                </c:pt>
                <c:pt idx="86">
                  <c:v>0.28643868839725739</c:v>
                </c:pt>
                <c:pt idx="87">
                  <c:v>0.31851912454529518</c:v>
                </c:pt>
                <c:pt idx="88">
                  <c:v>0.32552177961575524</c:v>
                </c:pt>
                <c:pt idx="89">
                  <c:v>0.36479672484141412</c:v>
                </c:pt>
                <c:pt idx="90">
                  <c:v>0.37660180707227497</c:v>
                </c:pt>
                <c:pt idx="91">
                  <c:v>0.37606369342589052</c:v>
                </c:pt>
                <c:pt idx="92">
                  <c:v>0.39179320229270331</c:v>
                </c:pt>
                <c:pt idx="93">
                  <c:v>0.3968426280306212</c:v>
                </c:pt>
                <c:pt idx="94">
                  <c:v>0.39610495543875812</c:v>
                </c:pt>
                <c:pt idx="95">
                  <c:v>0.42861828530398927</c:v>
                </c:pt>
                <c:pt idx="96">
                  <c:v>0.43296657077896916</c:v>
                </c:pt>
                <c:pt idx="97">
                  <c:v>0.43723064940363598</c:v>
                </c:pt>
                <c:pt idx="98">
                  <c:v>0.43349471205357615</c:v>
                </c:pt>
                <c:pt idx="99">
                  <c:v>0.42694421461737631</c:v>
                </c:pt>
                <c:pt idx="100">
                  <c:v>0.44392941699280963</c:v>
                </c:pt>
                <c:pt idx="101">
                  <c:v>0.4449842074319228</c:v>
                </c:pt>
                <c:pt idx="102">
                  <c:v>0.46715315514234335</c:v>
                </c:pt>
                <c:pt idx="103">
                  <c:v>0.47157588832851993</c:v>
                </c:pt>
                <c:pt idx="104">
                  <c:v>0.46729654564526046</c:v>
                </c:pt>
                <c:pt idx="105">
                  <c:v>0.45904021471256917</c:v>
                </c:pt>
                <c:pt idx="106">
                  <c:v>0.4786402314369107</c:v>
                </c:pt>
                <c:pt idx="107">
                  <c:v>0.47369447559080058</c:v>
                </c:pt>
                <c:pt idx="108">
                  <c:v>0.45503750352982109</c:v>
                </c:pt>
                <c:pt idx="109">
                  <c:v>0.47180797478800507</c:v>
                </c:pt>
                <c:pt idx="110">
                  <c:v>0.48194402194877517</c:v>
                </c:pt>
                <c:pt idx="111">
                  <c:v>0.46930274305274766</c:v>
                </c:pt>
                <c:pt idx="112">
                  <c:v>0.43365025892284703</c:v>
                </c:pt>
                <c:pt idx="113">
                  <c:v>0.44819478416464498</c:v>
                </c:pt>
                <c:pt idx="114">
                  <c:v>0.4581380895527194</c:v>
                </c:pt>
                <c:pt idx="115">
                  <c:v>0.47409682768763806</c:v>
                </c:pt>
                <c:pt idx="116">
                  <c:v>0.50154760622251993</c:v>
                </c:pt>
                <c:pt idx="117">
                  <c:v>0.50073196556281996</c:v>
                </c:pt>
                <c:pt idx="118">
                  <c:v>0.5042817969541622</c:v>
                </c:pt>
                <c:pt idx="119">
                  <c:v>0.50446546976157025</c:v>
                </c:pt>
                <c:pt idx="120">
                  <c:v>0.50864803421405447</c:v>
                </c:pt>
                <c:pt idx="121">
                  <c:v>0.50564763500360943</c:v>
                </c:pt>
                <c:pt idx="122">
                  <c:v>0.49349178882240796</c:v>
                </c:pt>
                <c:pt idx="123">
                  <c:v>0.46044649080456557</c:v>
                </c:pt>
                <c:pt idx="124">
                  <c:v>0.45563592610850456</c:v>
                </c:pt>
                <c:pt idx="125">
                  <c:v>0.46805031710432088</c:v>
                </c:pt>
                <c:pt idx="126">
                  <c:v>0.48731524780561752</c:v>
                </c:pt>
                <c:pt idx="127">
                  <c:v>0.50045939630809966</c:v>
                </c:pt>
                <c:pt idx="128">
                  <c:v>0.51214827509721905</c:v>
                </c:pt>
                <c:pt idx="129">
                  <c:v>0.52790259190131961</c:v>
                </c:pt>
                <c:pt idx="130">
                  <c:v>0.52584221525614061</c:v>
                </c:pt>
                <c:pt idx="131">
                  <c:v>0.53550598434224383</c:v>
                </c:pt>
                <c:pt idx="132">
                  <c:v>0.54032808733547211</c:v>
                </c:pt>
                <c:pt idx="133">
                  <c:v>0.56392483540379046</c:v>
                </c:pt>
                <c:pt idx="134">
                  <c:v>0.55913719230516867</c:v>
                </c:pt>
                <c:pt idx="135">
                  <c:v>0.56324910482243506</c:v>
                </c:pt>
                <c:pt idx="136">
                  <c:v>0.55792655427033555</c:v>
                </c:pt>
                <c:pt idx="137">
                  <c:v>0.56817646465619087</c:v>
                </c:pt>
                <c:pt idx="138">
                  <c:v>0.55237661632184043</c:v>
                </c:pt>
                <c:pt idx="139">
                  <c:v>0.53762174229668624</c:v>
                </c:pt>
                <c:pt idx="140">
                  <c:v>0.52825701083740251</c:v>
                </c:pt>
                <c:pt idx="141">
                  <c:v>0.55547312864060139</c:v>
                </c:pt>
                <c:pt idx="142">
                  <c:v>0.55199695729271547</c:v>
                </c:pt>
                <c:pt idx="143">
                  <c:v>0.54683563621154274</c:v>
                </c:pt>
                <c:pt idx="144">
                  <c:v>0.50698559250077002</c:v>
                </c:pt>
                <c:pt idx="145">
                  <c:v>0.50020265034892408</c:v>
                </c:pt>
                <c:pt idx="146">
                  <c:v>0.52251081377987751</c:v>
                </c:pt>
                <c:pt idx="147">
                  <c:v>0.54338261002382326</c:v>
                </c:pt>
                <c:pt idx="148">
                  <c:v>0.54757644359004098</c:v>
                </c:pt>
                <c:pt idx="149">
                  <c:v>0.55913049456023978</c:v>
                </c:pt>
                <c:pt idx="150">
                  <c:v>0.5679227432451639</c:v>
                </c:pt>
                <c:pt idx="151">
                  <c:v>0.57479965239703712</c:v>
                </c:pt>
                <c:pt idx="152">
                  <c:v>0.57041320544525043</c:v>
                </c:pt>
                <c:pt idx="153">
                  <c:v>0.59796893187855726</c:v>
                </c:pt>
                <c:pt idx="154">
                  <c:v>0.60460593604022184</c:v>
                </c:pt>
                <c:pt idx="155">
                  <c:v>0.59161841605450594</c:v>
                </c:pt>
                <c:pt idx="156">
                  <c:v>0.60658090246015139</c:v>
                </c:pt>
                <c:pt idx="157">
                  <c:v>0.59656708369511713</c:v>
                </c:pt>
                <c:pt idx="158">
                  <c:v>0.58242644869153803</c:v>
                </c:pt>
                <c:pt idx="159">
                  <c:v>0.59926710568644803</c:v>
                </c:pt>
                <c:pt idx="160">
                  <c:v>0.57979522904116276</c:v>
                </c:pt>
                <c:pt idx="161">
                  <c:v>0.56128097683393774</c:v>
                </c:pt>
                <c:pt idx="162">
                  <c:v>0.55610782844529605</c:v>
                </c:pt>
                <c:pt idx="163">
                  <c:v>0.52569525704616127</c:v>
                </c:pt>
                <c:pt idx="164">
                  <c:v>0.56004826916238959</c:v>
                </c:pt>
                <c:pt idx="165">
                  <c:v>0.51627596681175048</c:v>
                </c:pt>
                <c:pt idx="166">
                  <c:v>0.52605412726652623</c:v>
                </c:pt>
                <c:pt idx="167">
                  <c:v>0.52975938668752942</c:v>
                </c:pt>
                <c:pt idx="168">
                  <c:v>0.53135599655941523</c:v>
                </c:pt>
                <c:pt idx="169">
                  <c:v>0.56081377305163094</c:v>
                </c:pt>
                <c:pt idx="170">
                  <c:v>0.56472048992557911</c:v>
                </c:pt>
                <c:pt idx="171">
                  <c:v>0.59951768301283836</c:v>
                </c:pt>
                <c:pt idx="172">
                  <c:v>0.59942059228947953</c:v>
                </c:pt>
                <c:pt idx="173">
                  <c:v>0.60745896030220803</c:v>
                </c:pt>
                <c:pt idx="174">
                  <c:v>0.59096771733667564</c:v>
                </c:pt>
                <c:pt idx="175">
                  <c:v>0.60010353125993809</c:v>
                </c:pt>
                <c:pt idx="176">
                  <c:v>0.62325014891208474</c:v>
                </c:pt>
                <c:pt idx="177">
                  <c:v>0.62474094184884565</c:v>
                </c:pt>
                <c:pt idx="178">
                  <c:v>0.62397780102845912</c:v>
                </c:pt>
                <c:pt idx="179">
                  <c:v>0.6021747622651914</c:v>
                </c:pt>
                <c:pt idx="180">
                  <c:v>0.59702521236179495</c:v>
                </c:pt>
                <c:pt idx="181">
                  <c:v>0.61877717486172612</c:v>
                </c:pt>
                <c:pt idx="182">
                  <c:v>0.61791582352698216</c:v>
                </c:pt>
                <c:pt idx="183">
                  <c:v>0.6251979008570947</c:v>
                </c:pt>
                <c:pt idx="184">
                  <c:v>0.59719184055036489</c:v>
                </c:pt>
                <c:pt idx="185">
                  <c:v>0.60324759341381151</c:v>
                </c:pt>
                <c:pt idx="186">
                  <c:v>0.62261274012037893</c:v>
                </c:pt>
                <c:pt idx="187">
                  <c:v>0.62315696443341517</c:v>
                </c:pt>
                <c:pt idx="188">
                  <c:v>0.60952910087572865</c:v>
                </c:pt>
                <c:pt idx="189">
                  <c:v>0.61838698332948816</c:v>
                </c:pt>
                <c:pt idx="190">
                  <c:v>0.61440300009262594</c:v>
                </c:pt>
                <c:pt idx="191">
                  <c:v>0.59784891172967614</c:v>
                </c:pt>
                <c:pt idx="192">
                  <c:v>0.60371445529974443</c:v>
                </c:pt>
                <c:pt idx="193">
                  <c:v>0.61308399663338742</c:v>
                </c:pt>
                <c:pt idx="194">
                  <c:v>0.61902466237618881</c:v>
                </c:pt>
                <c:pt idx="195">
                  <c:v>0.63029550256332079</c:v>
                </c:pt>
                <c:pt idx="196">
                  <c:v>0.621242145578486</c:v>
                </c:pt>
                <c:pt idx="197">
                  <c:v>0.62307398707877515</c:v>
                </c:pt>
                <c:pt idx="198">
                  <c:v>0.60391132635772826</c:v>
                </c:pt>
                <c:pt idx="199">
                  <c:v>0.61325074161997684</c:v>
                </c:pt>
                <c:pt idx="200">
                  <c:v>0.63019665006010128</c:v>
                </c:pt>
                <c:pt idx="201">
                  <c:v>0.63601824531713103</c:v>
                </c:pt>
                <c:pt idx="202">
                  <c:v>0.63977552481932642</c:v>
                </c:pt>
                <c:pt idx="203">
                  <c:v>0.64838565814504778</c:v>
                </c:pt>
                <c:pt idx="204">
                  <c:v>0.65028904906450791</c:v>
                </c:pt>
                <c:pt idx="205">
                  <c:v>0.64798772098558755</c:v>
                </c:pt>
                <c:pt idx="206">
                  <c:v>0.64830528821942135</c:v>
                </c:pt>
                <c:pt idx="207">
                  <c:v>0.63174295185286367</c:v>
                </c:pt>
                <c:pt idx="208">
                  <c:v>0.65791105039743281</c:v>
                </c:pt>
                <c:pt idx="209">
                  <c:v>0.66308804344340389</c:v>
                </c:pt>
                <c:pt idx="210">
                  <c:v>0.66398710883968914</c:v>
                </c:pt>
                <c:pt idx="211">
                  <c:v>0.67065553717836401</c:v>
                </c:pt>
                <c:pt idx="212">
                  <c:v>0.67546702512543777</c:v>
                </c:pt>
                <c:pt idx="213">
                  <c:v>0.6783876992436364</c:v>
                </c:pt>
                <c:pt idx="214">
                  <c:v>0.66264559749612051</c:v>
                </c:pt>
                <c:pt idx="215">
                  <c:v>0.67648097030656484</c:v>
                </c:pt>
                <c:pt idx="216">
                  <c:v>0.68055582495299216</c:v>
                </c:pt>
                <c:pt idx="217">
                  <c:v>0.66236431231462345</c:v>
                </c:pt>
                <c:pt idx="218">
                  <c:v>0.68314818836576818</c:v>
                </c:pt>
                <c:pt idx="219">
                  <c:v>0.66530765914318524</c:v>
                </c:pt>
                <c:pt idx="220">
                  <c:v>0.63375607410999479</c:v>
                </c:pt>
                <c:pt idx="221">
                  <c:v>0.59757866973172535</c:v>
                </c:pt>
                <c:pt idx="222">
                  <c:v>0.60493823538957869</c:v>
                </c:pt>
                <c:pt idx="223">
                  <c:v>0.59817919850505907</c:v>
                </c:pt>
                <c:pt idx="224">
                  <c:v>0.60599061897359241</c:v>
                </c:pt>
                <c:pt idx="225">
                  <c:v>0.58700010110235357</c:v>
                </c:pt>
                <c:pt idx="226">
                  <c:v>0.57140544460887144</c:v>
                </c:pt>
                <c:pt idx="227">
                  <c:v>0.59382248611948385</c:v>
                </c:pt>
                <c:pt idx="228">
                  <c:v>0.61450536113960763</c:v>
                </c:pt>
                <c:pt idx="229">
                  <c:v>0.60566497558415167</c:v>
                </c:pt>
                <c:pt idx="230">
                  <c:v>0.55566087521501739</c:v>
                </c:pt>
                <c:pt idx="231">
                  <c:v>0.56016342448615197</c:v>
                </c:pt>
                <c:pt idx="232">
                  <c:v>0.54634661719890265</c:v>
                </c:pt>
                <c:pt idx="233">
                  <c:v>0.56650974000988241</c:v>
                </c:pt>
                <c:pt idx="234">
                  <c:v>0.56301376022310246</c:v>
                </c:pt>
                <c:pt idx="235">
                  <c:v>0.57813263602436438</c:v>
                </c:pt>
                <c:pt idx="236">
                  <c:v>0.57381107761387518</c:v>
                </c:pt>
                <c:pt idx="237">
                  <c:v>0.60213747367541637</c:v>
                </c:pt>
                <c:pt idx="238">
                  <c:v>0.60892444844140026</c:v>
                </c:pt>
                <c:pt idx="239">
                  <c:v>0.61952323824550803</c:v>
                </c:pt>
                <c:pt idx="240">
                  <c:v>0.62306578337684626</c:v>
                </c:pt>
                <c:pt idx="241">
                  <c:v>0.62137114039242247</c:v>
                </c:pt>
                <c:pt idx="242">
                  <c:v>0.60174330777817397</c:v>
                </c:pt>
                <c:pt idx="243">
                  <c:v>0.61731673761103956</c:v>
                </c:pt>
                <c:pt idx="244">
                  <c:v>0.61394867550496457</c:v>
                </c:pt>
                <c:pt idx="245">
                  <c:v>0.61621804873759212</c:v>
                </c:pt>
                <c:pt idx="246">
                  <c:v>0.6326351068112539</c:v>
                </c:pt>
                <c:pt idx="247">
                  <c:v>0.63643686092097451</c:v>
                </c:pt>
                <c:pt idx="248">
                  <c:v>0.63713840140325151</c:v>
                </c:pt>
                <c:pt idx="249">
                  <c:v>0.64326031674145878</c:v>
                </c:pt>
                <c:pt idx="250">
                  <c:v>0.66627023365266269</c:v>
                </c:pt>
                <c:pt idx="251">
                  <c:v>0.66598746759401184</c:v>
                </c:pt>
                <c:pt idx="252">
                  <c:v>0.66882847602249984</c:v>
                </c:pt>
                <c:pt idx="253">
                  <c:v>0.67638292876775852</c:v>
                </c:pt>
                <c:pt idx="254">
                  <c:v>0.68316423299120976</c:v>
                </c:pt>
                <c:pt idx="255">
                  <c:v>0.68279662992272461</c:v>
                </c:pt>
                <c:pt idx="256">
                  <c:v>0.68356045131304644</c:v>
                </c:pt>
                <c:pt idx="257">
                  <c:v>0.69665720477590098</c:v>
                </c:pt>
                <c:pt idx="258">
                  <c:v>0.70652886539044868</c:v>
                </c:pt>
                <c:pt idx="259">
                  <c:v>0.70597714460826788</c:v>
                </c:pt>
                <c:pt idx="260">
                  <c:v>0.69729150317192379</c:v>
                </c:pt>
                <c:pt idx="261">
                  <c:v>0.70594005202633614</c:v>
                </c:pt>
                <c:pt idx="262">
                  <c:v>0.71817147160535977</c:v>
                </c:pt>
                <c:pt idx="263">
                  <c:v>0.70873458661471456</c:v>
                </c:pt>
                <c:pt idx="264">
                  <c:v>0.70582239025874705</c:v>
                </c:pt>
                <c:pt idx="265">
                  <c:v>0.70708299300514832</c:v>
                </c:pt>
                <c:pt idx="266">
                  <c:v>0.71678997902827346</c:v>
                </c:pt>
                <c:pt idx="267">
                  <c:v>0.71686208420739272</c:v>
                </c:pt>
                <c:pt idx="268">
                  <c:v>0.71124262291957341</c:v>
                </c:pt>
                <c:pt idx="269">
                  <c:v>0.72393165809278437</c:v>
                </c:pt>
                <c:pt idx="270">
                  <c:v>0.73759398887633543</c:v>
                </c:pt>
                <c:pt idx="271">
                  <c:v>0.74052339858218197</c:v>
                </c:pt>
                <c:pt idx="272">
                  <c:v>0.73029382041169488</c:v>
                </c:pt>
                <c:pt idx="273">
                  <c:v>0.73613321599682036</c:v>
                </c:pt>
                <c:pt idx="274">
                  <c:v>0.7477324956262168</c:v>
                </c:pt>
                <c:pt idx="275">
                  <c:v>0.75082091371923765</c:v>
                </c:pt>
                <c:pt idx="276">
                  <c:v>0.75202512834369362</c:v>
                </c:pt>
                <c:pt idx="277">
                  <c:v>0.77156090933477706</c:v>
                </c:pt>
                <c:pt idx="278">
                  <c:v>0.77304813471816369</c:v>
                </c:pt>
                <c:pt idx="279">
                  <c:v>0.74445613780251207</c:v>
                </c:pt>
                <c:pt idx="280">
                  <c:v>0.75234247511028984</c:v>
                </c:pt>
                <c:pt idx="281">
                  <c:v>0.76647266389258939</c:v>
                </c:pt>
                <c:pt idx="282">
                  <c:v>0.76467298154261565</c:v>
                </c:pt>
                <c:pt idx="283">
                  <c:v>0.76866043661170913</c:v>
                </c:pt>
                <c:pt idx="284">
                  <c:v>0.7812536526524716</c:v>
                </c:pt>
                <c:pt idx="285">
                  <c:v>0.77361278698405345</c:v>
                </c:pt>
                <c:pt idx="286">
                  <c:v>0.7321412859923988</c:v>
                </c:pt>
                <c:pt idx="287">
                  <c:v>0.74332485620540889</c:v>
                </c:pt>
                <c:pt idx="288">
                  <c:v>0.7658895814817035</c:v>
                </c:pt>
                <c:pt idx="289">
                  <c:v>0.7364963493979404</c:v>
                </c:pt>
                <c:pt idx="290">
                  <c:v>0.75928126529766082</c:v>
                </c:pt>
                <c:pt idx="291">
                  <c:v>0.71734158328610342</c:v>
                </c:pt>
                <c:pt idx="292">
                  <c:v>0.70607084220915506</c:v>
                </c:pt>
                <c:pt idx="293">
                  <c:v>0.65083577505012835</c:v>
                </c:pt>
                <c:pt idx="294">
                  <c:v>0.62557072401445124</c:v>
                </c:pt>
                <c:pt idx="295">
                  <c:v>0.6970415418089051</c:v>
                </c:pt>
                <c:pt idx="296">
                  <c:v>0.69127652198722589</c:v>
                </c:pt>
                <c:pt idx="297">
                  <c:v>0.71452261039898368</c:v>
                </c:pt>
                <c:pt idx="298">
                  <c:v>0.6936920179439412</c:v>
                </c:pt>
                <c:pt idx="299">
                  <c:v>0.66185755214386877</c:v>
                </c:pt>
                <c:pt idx="300">
                  <c:v>0.66370154928372749</c:v>
                </c:pt>
                <c:pt idx="301">
                  <c:v>0.6400844739408702</c:v>
                </c:pt>
                <c:pt idx="302">
                  <c:v>0.63166510029389467</c:v>
                </c:pt>
                <c:pt idx="303">
                  <c:v>0.56807584800524102</c:v>
                </c:pt>
                <c:pt idx="304">
                  <c:v>0.59163461954567165</c:v>
                </c:pt>
                <c:pt idx="305">
                  <c:v>0.57108852656888032</c:v>
                </c:pt>
                <c:pt idx="306">
                  <c:v>0.5716365222469475</c:v>
                </c:pt>
                <c:pt idx="307">
                  <c:v>0.56274043087642078</c:v>
                </c:pt>
                <c:pt idx="308">
                  <c:v>0.61412411761385299</c:v>
                </c:pt>
                <c:pt idx="309">
                  <c:v>0.59414077680055821</c:v>
                </c:pt>
                <c:pt idx="310">
                  <c:v>0.566779103921631</c:v>
                </c:pt>
                <c:pt idx="311">
                  <c:v>0.60727282321830645</c:v>
                </c:pt>
                <c:pt idx="312">
                  <c:v>0.61377729560658878</c:v>
                </c:pt>
                <c:pt idx="313">
                  <c:v>0.55824447544336353</c:v>
                </c:pt>
                <c:pt idx="314">
                  <c:v>0.53717249122639044</c:v>
                </c:pt>
                <c:pt idx="315">
                  <c:v>0.55404265188310187</c:v>
                </c:pt>
                <c:pt idx="316">
                  <c:v>0.5448096182754687</c:v>
                </c:pt>
                <c:pt idx="317">
                  <c:v>0.590378875838244</c:v>
                </c:pt>
                <c:pt idx="318">
                  <c:v>0.59735077875414366</c:v>
                </c:pt>
                <c:pt idx="319">
                  <c:v>0.59446212960584455</c:v>
                </c:pt>
                <c:pt idx="320">
                  <c:v>0.63192609014170231</c:v>
                </c:pt>
                <c:pt idx="321">
                  <c:v>0.63102004477645557</c:v>
                </c:pt>
                <c:pt idx="322">
                  <c:v>0.633107913535774</c:v>
                </c:pt>
                <c:pt idx="323">
                  <c:v>0.63526655557588541</c:v>
                </c:pt>
                <c:pt idx="324">
                  <c:v>0.62895687957119595</c:v>
                </c:pt>
                <c:pt idx="325">
                  <c:v>0.60278133436905423</c:v>
                </c:pt>
                <c:pt idx="326">
                  <c:v>0.59798805651049025</c:v>
                </c:pt>
                <c:pt idx="327">
                  <c:v>0.57114393454558732</c:v>
                </c:pt>
                <c:pt idx="328">
                  <c:v>0.57564243385897806</c:v>
                </c:pt>
                <c:pt idx="329">
                  <c:v>0.57243095945028677</c:v>
                </c:pt>
                <c:pt idx="330">
                  <c:v>0.52366248497222401</c:v>
                </c:pt>
                <c:pt idx="331">
                  <c:v>0.50825033420423305</c:v>
                </c:pt>
                <c:pt idx="332">
                  <c:v>0.50336842952248073</c:v>
                </c:pt>
                <c:pt idx="333">
                  <c:v>0.49635792186193162</c:v>
                </c:pt>
                <c:pt idx="334">
                  <c:v>0.50437316307038493</c:v>
                </c:pt>
                <c:pt idx="335">
                  <c:v>0.55150983782618535</c:v>
                </c:pt>
                <c:pt idx="336">
                  <c:v>0.56610302905881071</c:v>
                </c:pt>
                <c:pt idx="337">
                  <c:v>0.57738836748620859</c:v>
                </c:pt>
                <c:pt idx="338">
                  <c:v>0.57854348898771857</c:v>
                </c:pt>
                <c:pt idx="339">
                  <c:v>0.60281801505267385</c:v>
                </c:pt>
                <c:pt idx="340">
                  <c:v>0.60257711150501136</c:v>
                </c:pt>
                <c:pt idx="341">
                  <c:v>0.60448610136023628</c:v>
                </c:pt>
                <c:pt idx="342">
                  <c:v>0.55824769999401669</c:v>
                </c:pt>
                <c:pt idx="343">
                  <c:v>0.56756929356015084</c:v>
                </c:pt>
                <c:pt idx="344">
                  <c:v>0.58547532408662994</c:v>
                </c:pt>
                <c:pt idx="345">
                  <c:v>0.56514540819599679</c:v>
                </c:pt>
                <c:pt idx="346">
                  <c:v>0.60038090071255001</c:v>
                </c:pt>
                <c:pt idx="347">
                  <c:v>0.61353267091651564</c:v>
                </c:pt>
                <c:pt idx="348">
                  <c:v>0.63160617306998557</c:v>
                </c:pt>
                <c:pt idx="349">
                  <c:v>0.62989298658826209</c:v>
                </c:pt>
                <c:pt idx="350">
                  <c:v>0.61860809651702109</c:v>
                </c:pt>
                <c:pt idx="351">
                  <c:v>0.61188277987599293</c:v>
                </c:pt>
                <c:pt idx="352">
                  <c:v>0.61198029878417537</c:v>
                </c:pt>
                <c:pt idx="353">
                  <c:v>0.64748303647868766</c:v>
                </c:pt>
                <c:pt idx="354">
                  <c:v>0.63957824812135922</c:v>
                </c:pt>
                <c:pt idx="355">
                  <c:v>0.64950212338376323</c:v>
                </c:pt>
                <c:pt idx="356">
                  <c:v>0.64741814240108009</c:v>
                </c:pt>
                <c:pt idx="357">
                  <c:v>0.64131182231445627</c:v>
                </c:pt>
                <c:pt idx="358">
                  <c:v>0.65030998611793067</c:v>
                </c:pt>
                <c:pt idx="359">
                  <c:v>0.64046159624477328</c:v>
                </c:pt>
                <c:pt idx="360">
                  <c:v>0.59423896603202286</c:v>
                </c:pt>
                <c:pt idx="361">
                  <c:v>0.58565940961242502</c:v>
                </c:pt>
                <c:pt idx="362">
                  <c:v>0.57927411773585691</c:v>
                </c:pt>
                <c:pt idx="363">
                  <c:v>0.57946363062998496</c:v>
                </c:pt>
                <c:pt idx="364">
                  <c:v>0.59872929621095716</c:v>
                </c:pt>
                <c:pt idx="365">
                  <c:v>0.60110244997825268</c:v>
                </c:pt>
                <c:pt idx="366">
                  <c:v>0.573985538444441</c:v>
                </c:pt>
                <c:pt idx="367">
                  <c:v>0.56822002941711913</c:v>
                </c:pt>
                <c:pt idx="368">
                  <c:v>0.56187846126216212</c:v>
                </c:pt>
                <c:pt idx="369">
                  <c:v>0.53921591716494044</c:v>
                </c:pt>
                <c:pt idx="370">
                  <c:v>0.54427470419829471</c:v>
                </c:pt>
                <c:pt idx="371">
                  <c:v>0.53241513775246307</c:v>
                </c:pt>
                <c:pt idx="372">
                  <c:v>0.55782809743089468</c:v>
                </c:pt>
                <c:pt idx="373">
                  <c:v>0.53489982771009714</c:v>
                </c:pt>
                <c:pt idx="374">
                  <c:v>0.53549183857364491</c:v>
                </c:pt>
                <c:pt idx="375">
                  <c:v>0.58080696661526265</c:v>
                </c:pt>
                <c:pt idx="376">
                  <c:v>0.59515642569331928</c:v>
                </c:pt>
                <c:pt idx="377">
                  <c:v>0.61623769398399708</c:v>
                </c:pt>
                <c:pt idx="378">
                  <c:v>0.59770300335692728</c:v>
                </c:pt>
                <c:pt idx="379">
                  <c:v>0.60799029345494171</c:v>
                </c:pt>
                <c:pt idx="380">
                  <c:v>0.61576444412670828</c:v>
                </c:pt>
                <c:pt idx="381">
                  <c:v>0.6236207755833858</c:v>
                </c:pt>
                <c:pt idx="382">
                  <c:v>0.64169411024679235</c:v>
                </c:pt>
                <c:pt idx="383">
                  <c:v>0.64051767224738954</c:v>
                </c:pt>
                <c:pt idx="384">
                  <c:v>0.64632149566826613</c:v>
                </c:pt>
                <c:pt idx="385">
                  <c:v>0.64573293573356461</c:v>
                </c:pt>
                <c:pt idx="386">
                  <c:v>0.64709280485836107</c:v>
                </c:pt>
                <c:pt idx="387">
                  <c:v>0.67213948630472009</c:v>
                </c:pt>
                <c:pt idx="388">
                  <c:v>0.66785646822449918</c:v>
                </c:pt>
                <c:pt idx="389">
                  <c:v>0.65980188898250258</c:v>
                </c:pt>
                <c:pt idx="390">
                  <c:v>0.64597573924727847</c:v>
                </c:pt>
                <c:pt idx="391">
                  <c:v>0.68086334722364206</c:v>
                </c:pt>
                <c:pt idx="392">
                  <c:v>0.67134092018895064</c:v>
                </c:pt>
                <c:pt idx="393">
                  <c:v>0.6794412410927384</c:v>
                </c:pt>
                <c:pt idx="394">
                  <c:v>0.67509148827830834</c:v>
                </c:pt>
                <c:pt idx="395">
                  <c:v>0.66993321154930419</c:v>
                </c:pt>
                <c:pt idx="396">
                  <c:v>0.67730195883858668</c:v>
                </c:pt>
                <c:pt idx="397">
                  <c:v>0.66383490141107182</c:v>
                </c:pt>
                <c:pt idx="398">
                  <c:v>0.69853201529462794</c:v>
                </c:pt>
                <c:pt idx="399">
                  <c:v>0.69740368047686774</c:v>
                </c:pt>
                <c:pt idx="400">
                  <c:v>0.69459956959671998</c:v>
                </c:pt>
                <c:pt idx="401">
                  <c:v>0.70497238302217857</c:v>
                </c:pt>
                <c:pt idx="402">
                  <c:v>0.70522369595143597</c:v>
                </c:pt>
                <c:pt idx="403">
                  <c:v>0.71173986726077532</c:v>
                </c:pt>
                <c:pt idx="404">
                  <c:v>0.72393122094337992</c:v>
                </c:pt>
                <c:pt idx="405">
                  <c:v>0.71765559411977975</c:v>
                </c:pt>
                <c:pt idx="406">
                  <c:v>0.72113058315224343</c:v>
                </c:pt>
                <c:pt idx="407">
                  <c:v>0.73360275592305602</c:v>
                </c:pt>
                <c:pt idx="408">
                  <c:v>0.70606898351238367</c:v>
                </c:pt>
                <c:pt idx="409">
                  <c:v>0.72403474294326076</c:v>
                </c:pt>
                <c:pt idx="410">
                  <c:v>0.72709542182240794</c:v>
                </c:pt>
                <c:pt idx="411">
                  <c:v>0.73121057208398432</c:v>
                </c:pt>
                <c:pt idx="412">
                  <c:v>0.73493319417713665</c:v>
                </c:pt>
                <c:pt idx="413">
                  <c:v>0.73495574830866106</c:v>
                </c:pt>
                <c:pt idx="414">
                  <c:v>0.73029045230145906</c:v>
                </c:pt>
                <c:pt idx="415">
                  <c:v>0.73223391453748432</c:v>
                </c:pt>
                <c:pt idx="416">
                  <c:v>0.7314753693063083</c:v>
                </c:pt>
                <c:pt idx="417">
                  <c:v>0.73312459959557241</c:v>
                </c:pt>
                <c:pt idx="418">
                  <c:v>0.74656186124115687</c:v>
                </c:pt>
                <c:pt idx="419">
                  <c:v>0.75299147942094402</c:v>
                </c:pt>
                <c:pt idx="420">
                  <c:v>0.78678494796462894</c:v>
                </c:pt>
                <c:pt idx="421">
                  <c:v>0.79379807888539</c:v>
                </c:pt>
                <c:pt idx="422">
                  <c:v>0.78999181874180313</c:v>
                </c:pt>
                <c:pt idx="423">
                  <c:v>0.77557790962138462</c:v>
                </c:pt>
                <c:pt idx="424">
                  <c:v>0.78335085703633434</c:v>
                </c:pt>
                <c:pt idx="425">
                  <c:v>0.7757808893183864</c:v>
                </c:pt>
                <c:pt idx="426">
                  <c:v>0.75481602013909366</c:v>
                </c:pt>
                <c:pt idx="427">
                  <c:v>0.75268426963782886</c:v>
                </c:pt>
                <c:pt idx="428">
                  <c:v>0.72428570168531414</c:v>
                </c:pt>
                <c:pt idx="429">
                  <c:v>0.72464193911128238</c:v>
                </c:pt>
                <c:pt idx="430">
                  <c:v>0.75112381608633605</c:v>
                </c:pt>
                <c:pt idx="431">
                  <c:v>0.75557955063636761</c:v>
                </c:pt>
                <c:pt idx="432">
                  <c:v>0.75281907735094689</c:v>
                </c:pt>
                <c:pt idx="433">
                  <c:v>0.72777251970895618</c:v>
                </c:pt>
                <c:pt idx="434">
                  <c:v>0.75356557176943118</c:v>
                </c:pt>
                <c:pt idx="435">
                  <c:v>0.74046889194011389</c:v>
                </c:pt>
                <c:pt idx="436">
                  <c:v>0.73806582654101205</c:v>
                </c:pt>
                <c:pt idx="437">
                  <c:v>0.72751750503973467</c:v>
                </c:pt>
                <c:pt idx="438">
                  <c:v>0.76485399537265741</c:v>
                </c:pt>
                <c:pt idx="439">
                  <c:v>0.78748224735972761</c:v>
                </c:pt>
                <c:pt idx="440">
                  <c:v>0.79212970120286275</c:v>
                </c:pt>
                <c:pt idx="441">
                  <c:v>0.78980871402683483</c:v>
                </c:pt>
                <c:pt idx="442">
                  <c:v>0.79072312729883132</c:v>
                </c:pt>
                <c:pt idx="443">
                  <c:v>0.79736312865485548</c:v>
                </c:pt>
                <c:pt idx="444">
                  <c:v>0.80426050966106843</c:v>
                </c:pt>
                <c:pt idx="445">
                  <c:v>0.81508913996190158</c:v>
                </c:pt>
                <c:pt idx="446">
                  <c:v>0.81518007592781361</c:v>
                </c:pt>
                <c:pt idx="447">
                  <c:v>0.81683225283292327</c:v>
                </c:pt>
                <c:pt idx="448">
                  <c:v>0.80753170684744613</c:v>
                </c:pt>
                <c:pt idx="449">
                  <c:v>0.818707133131372</c:v>
                </c:pt>
                <c:pt idx="450">
                  <c:v>0.82022484423397035</c:v>
                </c:pt>
                <c:pt idx="451">
                  <c:v>0.82486405129446938</c:v>
                </c:pt>
                <c:pt idx="452">
                  <c:v>0.83587217871109298</c:v>
                </c:pt>
                <c:pt idx="453">
                  <c:v>0.84207173547138225</c:v>
                </c:pt>
                <c:pt idx="454">
                  <c:v>0.83904926416782089</c:v>
                </c:pt>
                <c:pt idx="455">
                  <c:v>0.84016850954999356</c:v>
                </c:pt>
                <c:pt idx="456">
                  <c:v>0.84159832048191396</c:v>
                </c:pt>
                <c:pt idx="457">
                  <c:v>0.84345557238811986</c:v>
                </c:pt>
                <c:pt idx="458">
                  <c:v>0.84067711614941643</c:v>
                </c:pt>
                <c:pt idx="459">
                  <c:v>0.84031413462211169</c:v>
                </c:pt>
                <c:pt idx="460">
                  <c:v>0.86114280999776471</c:v>
                </c:pt>
                <c:pt idx="461">
                  <c:v>0.85869410440265059</c:v>
                </c:pt>
                <c:pt idx="462">
                  <c:v>0.8680109944703791</c:v>
                </c:pt>
                <c:pt idx="463">
                  <c:v>0.86404333911812392</c:v>
                </c:pt>
                <c:pt idx="464">
                  <c:v>0.86060492477478667</c:v>
                </c:pt>
                <c:pt idx="465">
                  <c:v>0.85804491845878905</c:v>
                </c:pt>
                <c:pt idx="466">
                  <c:v>0.8649653925620806</c:v>
                </c:pt>
                <c:pt idx="467">
                  <c:v>0.88175381102592443</c:v>
                </c:pt>
                <c:pt idx="468">
                  <c:v>0.8785395873413111</c:v>
                </c:pt>
                <c:pt idx="469">
                  <c:v>0.89242105562196961</c:v>
                </c:pt>
                <c:pt idx="470">
                  <c:v>0.89501764655238847</c:v>
                </c:pt>
                <c:pt idx="471">
                  <c:v>0.8758455635204534</c:v>
                </c:pt>
                <c:pt idx="472">
                  <c:v>0.87341521800835631</c:v>
                </c:pt>
                <c:pt idx="473">
                  <c:v>0.87793670563701953</c:v>
                </c:pt>
                <c:pt idx="474">
                  <c:v>0.88889521748909384</c:v>
                </c:pt>
                <c:pt idx="475">
                  <c:v>0.8893991747331198</c:v>
                </c:pt>
                <c:pt idx="476">
                  <c:v>0.89737886320768778</c:v>
                </c:pt>
                <c:pt idx="477">
                  <c:v>0.90163392504631723</c:v>
                </c:pt>
                <c:pt idx="478">
                  <c:v>0.86768880866727804</c:v>
                </c:pt>
                <c:pt idx="479">
                  <c:v>0.88199623878607381</c:v>
                </c:pt>
                <c:pt idx="480">
                  <c:v>0.91341484859524003</c:v>
                </c:pt>
                <c:pt idx="481">
                  <c:v>0.90820174984024216</c:v>
                </c:pt>
                <c:pt idx="482">
                  <c:v>0.91269842726374084</c:v>
                </c:pt>
                <c:pt idx="483">
                  <c:v>0.91821235428985681</c:v>
                </c:pt>
                <c:pt idx="484">
                  <c:v>0.93018487669915695</c:v>
                </c:pt>
                <c:pt idx="485">
                  <c:v>0.93826405153755665</c:v>
                </c:pt>
                <c:pt idx="486">
                  <c:v>0.93285823309781835</c:v>
                </c:pt>
                <c:pt idx="487">
                  <c:v>0.93430613720023192</c:v>
                </c:pt>
                <c:pt idx="488">
                  <c:v>0.94495507277736035</c:v>
                </c:pt>
                <c:pt idx="489">
                  <c:v>0.94960312641028377</c:v>
                </c:pt>
                <c:pt idx="490">
                  <c:v>0.94329888974072351</c:v>
                </c:pt>
                <c:pt idx="491">
                  <c:v>0.95545636192483063</c:v>
                </c:pt>
                <c:pt idx="492">
                  <c:v>0.96146254614048243</c:v>
                </c:pt>
                <c:pt idx="493">
                  <c:v>0.96524816885453357</c:v>
                </c:pt>
                <c:pt idx="494">
                  <c:v>0.92490614401873827</c:v>
                </c:pt>
                <c:pt idx="495">
                  <c:v>0.91313187811700436</c:v>
                </c:pt>
                <c:pt idx="496">
                  <c:v>0.91123137290928291</c:v>
                </c:pt>
                <c:pt idx="497">
                  <c:v>0.93140059758759475</c:v>
                </c:pt>
                <c:pt idx="498">
                  <c:v>0.94214343399149647</c:v>
                </c:pt>
                <c:pt idx="499">
                  <c:v>0.91157098891097599</c:v>
                </c:pt>
                <c:pt idx="500">
                  <c:v>0.91465626448707837</c:v>
                </c:pt>
                <c:pt idx="501">
                  <c:v>0.94762243311776406</c:v>
                </c:pt>
                <c:pt idx="502">
                  <c:v>0.9332591071980072</c:v>
                </c:pt>
                <c:pt idx="503">
                  <c:v>0.91713011979256476</c:v>
                </c:pt>
                <c:pt idx="504">
                  <c:v>0.93423245416521028</c:v>
                </c:pt>
                <c:pt idx="505">
                  <c:v>0.93160828099464443</c:v>
                </c:pt>
                <c:pt idx="506">
                  <c:v>0.93160828099464443</c:v>
                </c:pt>
                <c:pt idx="507">
                  <c:v>0.93160828099464443</c:v>
                </c:pt>
                <c:pt idx="508">
                  <c:v>0.93160828099464443</c:v>
                </c:pt>
              </c:numCache>
            </c:numRef>
          </c:val>
          <c:smooth val="0"/>
          <c:extLst>
            <c:ext xmlns:c16="http://schemas.microsoft.com/office/drawing/2014/chart" uri="{C3380CC4-5D6E-409C-BE32-E72D297353CC}">
              <c16:uniqueId val="{00000005-FEDF-4824-BFB3-214DAB16BA7B}"/>
            </c:ext>
          </c:extLst>
        </c:ser>
        <c:ser>
          <c:idx val="9"/>
          <c:order val="9"/>
          <c:tx>
            <c:strRef>
              <c:f>Chart!$K$4</c:f>
              <c:strCache>
                <c:ptCount val="1"/>
                <c:pt idx="0">
                  <c:v>Mar '20</c:v>
                </c:pt>
              </c:strCache>
            </c:strRef>
          </c:tx>
          <c:spPr>
            <a:ln w="15875" cap="rnd">
              <a:solidFill>
                <a:schemeClr val="accent4">
                  <a:lumMod val="60000"/>
                </a:schemeClr>
              </a:solidFill>
              <a:round/>
            </a:ln>
            <a:effectLst/>
          </c:spPr>
          <c:marker>
            <c:symbol val="none"/>
          </c:marker>
          <c:cat>
            <c:numRef>
              <c:f>Chart!$A$5:$A$513</c:f>
              <c:numCache>
                <c:formatCode>General</c:formatCode>
                <c:ptCount val="50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pt idx="100">
                  <c:v>101</c:v>
                </c:pt>
                <c:pt idx="101">
                  <c:v>102</c:v>
                </c:pt>
                <c:pt idx="102">
                  <c:v>103</c:v>
                </c:pt>
                <c:pt idx="103">
                  <c:v>104</c:v>
                </c:pt>
                <c:pt idx="104">
                  <c:v>105</c:v>
                </c:pt>
                <c:pt idx="105">
                  <c:v>106</c:v>
                </c:pt>
                <c:pt idx="106">
                  <c:v>107</c:v>
                </c:pt>
                <c:pt idx="107">
                  <c:v>108</c:v>
                </c:pt>
                <c:pt idx="108">
                  <c:v>109</c:v>
                </c:pt>
                <c:pt idx="109">
                  <c:v>110</c:v>
                </c:pt>
                <c:pt idx="110">
                  <c:v>111</c:v>
                </c:pt>
                <c:pt idx="111">
                  <c:v>112</c:v>
                </c:pt>
                <c:pt idx="112">
                  <c:v>113</c:v>
                </c:pt>
                <c:pt idx="113">
                  <c:v>114</c:v>
                </c:pt>
                <c:pt idx="114">
                  <c:v>115</c:v>
                </c:pt>
                <c:pt idx="115">
                  <c:v>116</c:v>
                </c:pt>
                <c:pt idx="116">
                  <c:v>117</c:v>
                </c:pt>
                <c:pt idx="117">
                  <c:v>118</c:v>
                </c:pt>
                <c:pt idx="118">
                  <c:v>119</c:v>
                </c:pt>
                <c:pt idx="119">
                  <c:v>120</c:v>
                </c:pt>
                <c:pt idx="120">
                  <c:v>121</c:v>
                </c:pt>
                <c:pt idx="121">
                  <c:v>122</c:v>
                </c:pt>
                <c:pt idx="122">
                  <c:v>123</c:v>
                </c:pt>
                <c:pt idx="123">
                  <c:v>124</c:v>
                </c:pt>
                <c:pt idx="124">
                  <c:v>125</c:v>
                </c:pt>
                <c:pt idx="125">
                  <c:v>126</c:v>
                </c:pt>
                <c:pt idx="126">
                  <c:v>127</c:v>
                </c:pt>
                <c:pt idx="127">
                  <c:v>128</c:v>
                </c:pt>
                <c:pt idx="128">
                  <c:v>129</c:v>
                </c:pt>
                <c:pt idx="129">
                  <c:v>130</c:v>
                </c:pt>
                <c:pt idx="130">
                  <c:v>131</c:v>
                </c:pt>
                <c:pt idx="131">
                  <c:v>132</c:v>
                </c:pt>
                <c:pt idx="132">
                  <c:v>133</c:v>
                </c:pt>
                <c:pt idx="133">
                  <c:v>134</c:v>
                </c:pt>
                <c:pt idx="134">
                  <c:v>135</c:v>
                </c:pt>
                <c:pt idx="135">
                  <c:v>136</c:v>
                </c:pt>
                <c:pt idx="136">
                  <c:v>137</c:v>
                </c:pt>
                <c:pt idx="137">
                  <c:v>138</c:v>
                </c:pt>
                <c:pt idx="138">
                  <c:v>139</c:v>
                </c:pt>
                <c:pt idx="139">
                  <c:v>140</c:v>
                </c:pt>
                <c:pt idx="140">
                  <c:v>141</c:v>
                </c:pt>
                <c:pt idx="141">
                  <c:v>142</c:v>
                </c:pt>
                <c:pt idx="142">
                  <c:v>143</c:v>
                </c:pt>
                <c:pt idx="143">
                  <c:v>144</c:v>
                </c:pt>
                <c:pt idx="144">
                  <c:v>145</c:v>
                </c:pt>
                <c:pt idx="145">
                  <c:v>146</c:v>
                </c:pt>
                <c:pt idx="146">
                  <c:v>147</c:v>
                </c:pt>
                <c:pt idx="147">
                  <c:v>148</c:v>
                </c:pt>
                <c:pt idx="148">
                  <c:v>149</c:v>
                </c:pt>
                <c:pt idx="149">
                  <c:v>150</c:v>
                </c:pt>
                <c:pt idx="150">
                  <c:v>151</c:v>
                </c:pt>
                <c:pt idx="151">
                  <c:v>152</c:v>
                </c:pt>
                <c:pt idx="152">
                  <c:v>153</c:v>
                </c:pt>
                <c:pt idx="153">
                  <c:v>154</c:v>
                </c:pt>
                <c:pt idx="154">
                  <c:v>155</c:v>
                </c:pt>
                <c:pt idx="155">
                  <c:v>156</c:v>
                </c:pt>
                <c:pt idx="156">
                  <c:v>157</c:v>
                </c:pt>
                <c:pt idx="157">
                  <c:v>158</c:v>
                </c:pt>
                <c:pt idx="158">
                  <c:v>159</c:v>
                </c:pt>
                <c:pt idx="159">
                  <c:v>160</c:v>
                </c:pt>
                <c:pt idx="160">
                  <c:v>161</c:v>
                </c:pt>
                <c:pt idx="161">
                  <c:v>162</c:v>
                </c:pt>
                <c:pt idx="162">
                  <c:v>163</c:v>
                </c:pt>
                <c:pt idx="163">
                  <c:v>164</c:v>
                </c:pt>
                <c:pt idx="164">
                  <c:v>165</c:v>
                </c:pt>
                <c:pt idx="165">
                  <c:v>166</c:v>
                </c:pt>
                <c:pt idx="166">
                  <c:v>167</c:v>
                </c:pt>
                <c:pt idx="167">
                  <c:v>168</c:v>
                </c:pt>
                <c:pt idx="168">
                  <c:v>169</c:v>
                </c:pt>
                <c:pt idx="169">
                  <c:v>170</c:v>
                </c:pt>
                <c:pt idx="170">
                  <c:v>171</c:v>
                </c:pt>
                <c:pt idx="171">
                  <c:v>172</c:v>
                </c:pt>
                <c:pt idx="172">
                  <c:v>173</c:v>
                </c:pt>
                <c:pt idx="173">
                  <c:v>174</c:v>
                </c:pt>
                <c:pt idx="174">
                  <c:v>175</c:v>
                </c:pt>
                <c:pt idx="175">
                  <c:v>176</c:v>
                </c:pt>
                <c:pt idx="176">
                  <c:v>177</c:v>
                </c:pt>
                <c:pt idx="177">
                  <c:v>178</c:v>
                </c:pt>
                <c:pt idx="178">
                  <c:v>179</c:v>
                </c:pt>
                <c:pt idx="179">
                  <c:v>180</c:v>
                </c:pt>
                <c:pt idx="180">
                  <c:v>181</c:v>
                </c:pt>
                <c:pt idx="181">
                  <c:v>182</c:v>
                </c:pt>
                <c:pt idx="182">
                  <c:v>183</c:v>
                </c:pt>
                <c:pt idx="183">
                  <c:v>184</c:v>
                </c:pt>
                <c:pt idx="184">
                  <c:v>185</c:v>
                </c:pt>
                <c:pt idx="185">
                  <c:v>186</c:v>
                </c:pt>
                <c:pt idx="186">
                  <c:v>187</c:v>
                </c:pt>
                <c:pt idx="187">
                  <c:v>188</c:v>
                </c:pt>
                <c:pt idx="188">
                  <c:v>189</c:v>
                </c:pt>
                <c:pt idx="189">
                  <c:v>190</c:v>
                </c:pt>
                <c:pt idx="190">
                  <c:v>191</c:v>
                </c:pt>
                <c:pt idx="191">
                  <c:v>192</c:v>
                </c:pt>
                <c:pt idx="192">
                  <c:v>193</c:v>
                </c:pt>
                <c:pt idx="193">
                  <c:v>194</c:v>
                </c:pt>
                <c:pt idx="194">
                  <c:v>195</c:v>
                </c:pt>
                <c:pt idx="195">
                  <c:v>196</c:v>
                </c:pt>
                <c:pt idx="196">
                  <c:v>197</c:v>
                </c:pt>
                <c:pt idx="197">
                  <c:v>198</c:v>
                </c:pt>
                <c:pt idx="198">
                  <c:v>199</c:v>
                </c:pt>
                <c:pt idx="199">
                  <c:v>200</c:v>
                </c:pt>
                <c:pt idx="200">
                  <c:v>201</c:v>
                </c:pt>
                <c:pt idx="201">
                  <c:v>202</c:v>
                </c:pt>
                <c:pt idx="202">
                  <c:v>203</c:v>
                </c:pt>
                <c:pt idx="203">
                  <c:v>204</c:v>
                </c:pt>
                <c:pt idx="204">
                  <c:v>205</c:v>
                </c:pt>
                <c:pt idx="205">
                  <c:v>206</c:v>
                </c:pt>
                <c:pt idx="206">
                  <c:v>207</c:v>
                </c:pt>
                <c:pt idx="207">
                  <c:v>208</c:v>
                </c:pt>
                <c:pt idx="208">
                  <c:v>209</c:v>
                </c:pt>
                <c:pt idx="209">
                  <c:v>210</c:v>
                </c:pt>
                <c:pt idx="210">
                  <c:v>211</c:v>
                </c:pt>
                <c:pt idx="211">
                  <c:v>212</c:v>
                </c:pt>
                <c:pt idx="212">
                  <c:v>213</c:v>
                </c:pt>
                <c:pt idx="213">
                  <c:v>214</c:v>
                </c:pt>
                <c:pt idx="214">
                  <c:v>215</c:v>
                </c:pt>
                <c:pt idx="215">
                  <c:v>216</c:v>
                </c:pt>
                <c:pt idx="216">
                  <c:v>217</c:v>
                </c:pt>
                <c:pt idx="217">
                  <c:v>218</c:v>
                </c:pt>
                <c:pt idx="218">
                  <c:v>219</c:v>
                </c:pt>
                <c:pt idx="219">
                  <c:v>220</c:v>
                </c:pt>
                <c:pt idx="220">
                  <c:v>221</c:v>
                </c:pt>
                <c:pt idx="221">
                  <c:v>222</c:v>
                </c:pt>
                <c:pt idx="222">
                  <c:v>223</c:v>
                </c:pt>
                <c:pt idx="223">
                  <c:v>224</c:v>
                </c:pt>
                <c:pt idx="224">
                  <c:v>225</c:v>
                </c:pt>
                <c:pt idx="225">
                  <c:v>226</c:v>
                </c:pt>
                <c:pt idx="226">
                  <c:v>227</c:v>
                </c:pt>
                <c:pt idx="227">
                  <c:v>228</c:v>
                </c:pt>
                <c:pt idx="228">
                  <c:v>229</c:v>
                </c:pt>
                <c:pt idx="229">
                  <c:v>230</c:v>
                </c:pt>
                <c:pt idx="230">
                  <c:v>231</c:v>
                </c:pt>
                <c:pt idx="231">
                  <c:v>232</c:v>
                </c:pt>
                <c:pt idx="232">
                  <c:v>233</c:v>
                </c:pt>
                <c:pt idx="233">
                  <c:v>234</c:v>
                </c:pt>
                <c:pt idx="234">
                  <c:v>235</c:v>
                </c:pt>
                <c:pt idx="235">
                  <c:v>236</c:v>
                </c:pt>
                <c:pt idx="236">
                  <c:v>237</c:v>
                </c:pt>
                <c:pt idx="237">
                  <c:v>238</c:v>
                </c:pt>
                <c:pt idx="238">
                  <c:v>239</c:v>
                </c:pt>
                <c:pt idx="239">
                  <c:v>240</c:v>
                </c:pt>
                <c:pt idx="240">
                  <c:v>241</c:v>
                </c:pt>
                <c:pt idx="241">
                  <c:v>242</c:v>
                </c:pt>
                <c:pt idx="242">
                  <c:v>243</c:v>
                </c:pt>
                <c:pt idx="243">
                  <c:v>244</c:v>
                </c:pt>
                <c:pt idx="244">
                  <c:v>245</c:v>
                </c:pt>
                <c:pt idx="245">
                  <c:v>246</c:v>
                </c:pt>
                <c:pt idx="246">
                  <c:v>247</c:v>
                </c:pt>
                <c:pt idx="247">
                  <c:v>248</c:v>
                </c:pt>
                <c:pt idx="248">
                  <c:v>249</c:v>
                </c:pt>
                <c:pt idx="249">
                  <c:v>250</c:v>
                </c:pt>
                <c:pt idx="250">
                  <c:v>251</c:v>
                </c:pt>
                <c:pt idx="251">
                  <c:v>252</c:v>
                </c:pt>
                <c:pt idx="252">
                  <c:v>253</c:v>
                </c:pt>
                <c:pt idx="253">
                  <c:v>254</c:v>
                </c:pt>
                <c:pt idx="254">
                  <c:v>255</c:v>
                </c:pt>
                <c:pt idx="255">
                  <c:v>256</c:v>
                </c:pt>
                <c:pt idx="256">
                  <c:v>257</c:v>
                </c:pt>
                <c:pt idx="257">
                  <c:v>258</c:v>
                </c:pt>
                <c:pt idx="258">
                  <c:v>259</c:v>
                </c:pt>
                <c:pt idx="259">
                  <c:v>260</c:v>
                </c:pt>
                <c:pt idx="260">
                  <c:v>261</c:v>
                </c:pt>
                <c:pt idx="261">
                  <c:v>262</c:v>
                </c:pt>
                <c:pt idx="262">
                  <c:v>263</c:v>
                </c:pt>
                <c:pt idx="263">
                  <c:v>264</c:v>
                </c:pt>
                <c:pt idx="264">
                  <c:v>265</c:v>
                </c:pt>
                <c:pt idx="265">
                  <c:v>266</c:v>
                </c:pt>
                <c:pt idx="266">
                  <c:v>267</c:v>
                </c:pt>
                <c:pt idx="267">
                  <c:v>268</c:v>
                </c:pt>
                <c:pt idx="268">
                  <c:v>269</c:v>
                </c:pt>
                <c:pt idx="269">
                  <c:v>270</c:v>
                </c:pt>
                <c:pt idx="270">
                  <c:v>271</c:v>
                </c:pt>
                <c:pt idx="271">
                  <c:v>272</c:v>
                </c:pt>
                <c:pt idx="272">
                  <c:v>273</c:v>
                </c:pt>
                <c:pt idx="273">
                  <c:v>274</c:v>
                </c:pt>
                <c:pt idx="274">
                  <c:v>275</c:v>
                </c:pt>
                <c:pt idx="275">
                  <c:v>276</c:v>
                </c:pt>
                <c:pt idx="276">
                  <c:v>277</c:v>
                </c:pt>
                <c:pt idx="277">
                  <c:v>278</c:v>
                </c:pt>
                <c:pt idx="278">
                  <c:v>279</c:v>
                </c:pt>
                <c:pt idx="279">
                  <c:v>280</c:v>
                </c:pt>
                <c:pt idx="280">
                  <c:v>281</c:v>
                </c:pt>
                <c:pt idx="281">
                  <c:v>282</c:v>
                </c:pt>
                <c:pt idx="282">
                  <c:v>283</c:v>
                </c:pt>
                <c:pt idx="283">
                  <c:v>284</c:v>
                </c:pt>
                <c:pt idx="284">
                  <c:v>285</c:v>
                </c:pt>
                <c:pt idx="285">
                  <c:v>286</c:v>
                </c:pt>
                <c:pt idx="286">
                  <c:v>287</c:v>
                </c:pt>
                <c:pt idx="287">
                  <c:v>288</c:v>
                </c:pt>
                <c:pt idx="288">
                  <c:v>289</c:v>
                </c:pt>
                <c:pt idx="289">
                  <c:v>290</c:v>
                </c:pt>
                <c:pt idx="290">
                  <c:v>291</c:v>
                </c:pt>
                <c:pt idx="291">
                  <c:v>292</c:v>
                </c:pt>
                <c:pt idx="292">
                  <c:v>293</c:v>
                </c:pt>
                <c:pt idx="293">
                  <c:v>294</c:v>
                </c:pt>
                <c:pt idx="294">
                  <c:v>295</c:v>
                </c:pt>
                <c:pt idx="295">
                  <c:v>296</c:v>
                </c:pt>
                <c:pt idx="296">
                  <c:v>297</c:v>
                </c:pt>
                <c:pt idx="297">
                  <c:v>298</c:v>
                </c:pt>
                <c:pt idx="298">
                  <c:v>299</c:v>
                </c:pt>
                <c:pt idx="299">
                  <c:v>300</c:v>
                </c:pt>
                <c:pt idx="300">
                  <c:v>301</c:v>
                </c:pt>
                <c:pt idx="301">
                  <c:v>302</c:v>
                </c:pt>
                <c:pt idx="302">
                  <c:v>303</c:v>
                </c:pt>
                <c:pt idx="303">
                  <c:v>304</c:v>
                </c:pt>
                <c:pt idx="304">
                  <c:v>305</c:v>
                </c:pt>
                <c:pt idx="305">
                  <c:v>306</c:v>
                </c:pt>
                <c:pt idx="306">
                  <c:v>307</c:v>
                </c:pt>
                <c:pt idx="307">
                  <c:v>308</c:v>
                </c:pt>
                <c:pt idx="308">
                  <c:v>309</c:v>
                </c:pt>
                <c:pt idx="309">
                  <c:v>310</c:v>
                </c:pt>
                <c:pt idx="310">
                  <c:v>311</c:v>
                </c:pt>
                <c:pt idx="311">
                  <c:v>312</c:v>
                </c:pt>
                <c:pt idx="312">
                  <c:v>313</c:v>
                </c:pt>
                <c:pt idx="313">
                  <c:v>314</c:v>
                </c:pt>
                <c:pt idx="314">
                  <c:v>315</c:v>
                </c:pt>
                <c:pt idx="315">
                  <c:v>316</c:v>
                </c:pt>
                <c:pt idx="316">
                  <c:v>317</c:v>
                </c:pt>
                <c:pt idx="317">
                  <c:v>318</c:v>
                </c:pt>
                <c:pt idx="318">
                  <c:v>319</c:v>
                </c:pt>
                <c:pt idx="319">
                  <c:v>320</c:v>
                </c:pt>
                <c:pt idx="320">
                  <c:v>321</c:v>
                </c:pt>
                <c:pt idx="321">
                  <c:v>322</c:v>
                </c:pt>
                <c:pt idx="322">
                  <c:v>323</c:v>
                </c:pt>
                <c:pt idx="323">
                  <c:v>324</c:v>
                </c:pt>
                <c:pt idx="324">
                  <c:v>325</c:v>
                </c:pt>
                <c:pt idx="325">
                  <c:v>326</c:v>
                </c:pt>
                <c:pt idx="326">
                  <c:v>327</c:v>
                </c:pt>
                <c:pt idx="327">
                  <c:v>328</c:v>
                </c:pt>
                <c:pt idx="328">
                  <c:v>329</c:v>
                </c:pt>
                <c:pt idx="329">
                  <c:v>330</c:v>
                </c:pt>
                <c:pt idx="330">
                  <c:v>331</c:v>
                </c:pt>
                <c:pt idx="331">
                  <c:v>332</c:v>
                </c:pt>
                <c:pt idx="332">
                  <c:v>333</c:v>
                </c:pt>
                <c:pt idx="333">
                  <c:v>334</c:v>
                </c:pt>
                <c:pt idx="334">
                  <c:v>335</c:v>
                </c:pt>
                <c:pt idx="335">
                  <c:v>336</c:v>
                </c:pt>
                <c:pt idx="336">
                  <c:v>337</c:v>
                </c:pt>
                <c:pt idx="337">
                  <c:v>338</c:v>
                </c:pt>
                <c:pt idx="338">
                  <c:v>339</c:v>
                </c:pt>
                <c:pt idx="339">
                  <c:v>340</c:v>
                </c:pt>
                <c:pt idx="340">
                  <c:v>341</c:v>
                </c:pt>
                <c:pt idx="341">
                  <c:v>342</c:v>
                </c:pt>
                <c:pt idx="342">
                  <c:v>343</c:v>
                </c:pt>
                <c:pt idx="343">
                  <c:v>344</c:v>
                </c:pt>
                <c:pt idx="344">
                  <c:v>345</c:v>
                </c:pt>
                <c:pt idx="345">
                  <c:v>346</c:v>
                </c:pt>
                <c:pt idx="346">
                  <c:v>347</c:v>
                </c:pt>
                <c:pt idx="347">
                  <c:v>348</c:v>
                </c:pt>
                <c:pt idx="348">
                  <c:v>349</c:v>
                </c:pt>
                <c:pt idx="349">
                  <c:v>350</c:v>
                </c:pt>
                <c:pt idx="350">
                  <c:v>351</c:v>
                </c:pt>
                <c:pt idx="351">
                  <c:v>352</c:v>
                </c:pt>
                <c:pt idx="352">
                  <c:v>353</c:v>
                </c:pt>
                <c:pt idx="353">
                  <c:v>354</c:v>
                </c:pt>
                <c:pt idx="354">
                  <c:v>355</c:v>
                </c:pt>
                <c:pt idx="355">
                  <c:v>356</c:v>
                </c:pt>
                <c:pt idx="356">
                  <c:v>357</c:v>
                </c:pt>
                <c:pt idx="357">
                  <c:v>358</c:v>
                </c:pt>
                <c:pt idx="358">
                  <c:v>359</c:v>
                </c:pt>
                <c:pt idx="359">
                  <c:v>360</c:v>
                </c:pt>
                <c:pt idx="360">
                  <c:v>361</c:v>
                </c:pt>
                <c:pt idx="361">
                  <c:v>362</c:v>
                </c:pt>
                <c:pt idx="362">
                  <c:v>363</c:v>
                </c:pt>
                <c:pt idx="363">
                  <c:v>364</c:v>
                </c:pt>
                <c:pt idx="364">
                  <c:v>365</c:v>
                </c:pt>
                <c:pt idx="365">
                  <c:v>366</c:v>
                </c:pt>
                <c:pt idx="366">
                  <c:v>367</c:v>
                </c:pt>
                <c:pt idx="367">
                  <c:v>368</c:v>
                </c:pt>
                <c:pt idx="368">
                  <c:v>369</c:v>
                </c:pt>
                <c:pt idx="369">
                  <c:v>370</c:v>
                </c:pt>
                <c:pt idx="370">
                  <c:v>371</c:v>
                </c:pt>
                <c:pt idx="371">
                  <c:v>372</c:v>
                </c:pt>
                <c:pt idx="372">
                  <c:v>373</c:v>
                </c:pt>
                <c:pt idx="373">
                  <c:v>374</c:v>
                </c:pt>
                <c:pt idx="374">
                  <c:v>375</c:v>
                </c:pt>
                <c:pt idx="375">
                  <c:v>376</c:v>
                </c:pt>
                <c:pt idx="376">
                  <c:v>377</c:v>
                </c:pt>
                <c:pt idx="377">
                  <c:v>378</c:v>
                </c:pt>
                <c:pt idx="378">
                  <c:v>379</c:v>
                </c:pt>
                <c:pt idx="379">
                  <c:v>380</c:v>
                </c:pt>
                <c:pt idx="380">
                  <c:v>381</c:v>
                </c:pt>
                <c:pt idx="381">
                  <c:v>382</c:v>
                </c:pt>
                <c:pt idx="382">
                  <c:v>383</c:v>
                </c:pt>
                <c:pt idx="383">
                  <c:v>384</c:v>
                </c:pt>
                <c:pt idx="384">
                  <c:v>385</c:v>
                </c:pt>
                <c:pt idx="385">
                  <c:v>386</c:v>
                </c:pt>
                <c:pt idx="386">
                  <c:v>387</c:v>
                </c:pt>
                <c:pt idx="387">
                  <c:v>388</c:v>
                </c:pt>
                <c:pt idx="388">
                  <c:v>389</c:v>
                </c:pt>
                <c:pt idx="389">
                  <c:v>390</c:v>
                </c:pt>
                <c:pt idx="390">
                  <c:v>391</c:v>
                </c:pt>
                <c:pt idx="391">
                  <c:v>392</c:v>
                </c:pt>
                <c:pt idx="392">
                  <c:v>393</c:v>
                </c:pt>
                <c:pt idx="393">
                  <c:v>394</c:v>
                </c:pt>
                <c:pt idx="394">
                  <c:v>395</c:v>
                </c:pt>
                <c:pt idx="395">
                  <c:v>396</c:v>
                </c:pt>
                <c:pt idx="396">
                  <c:v>397</c:v>
                </c:pt>
                <c:pt idx="397">
                  <c:v>398</c:v>
                </c:pt>
                <c:pt idx="398">
                  <c:v>399</c:v>
                </c:pt>
                <c:pt idx="399">
                  <c:v>400</c:v>
                </c:pt>
                <c:pt idx="400">
                  <c:v>401</c:v>
                </c:pt>
                <c:pt idx="401">
                  <c:v>402</c:v>
                </c:pt>
                <c:pt idx="402">
                  <c:v>403</c:v>
                </c:pt>
                <c:pt idx="403">
                  <c:v>404</c:v>
                </c:pt>
                <c:pt idx="404">
                  <c:v>405</c:v>
                </c:pt>
                <c:pt idx="405">
                  <c:v>406</c:v>
                </c:pt>
                <c:pt idx="406">
                  <c:v>407</c:v>
                </c:pt>
                <c:pt idx="407">
                  <c:v>408</c:v>
                </c:pt>
                <c:pt idx="408">
                  <c:v>409</c:v>
                </c:pt>
                <c:pt idx="409">
                  <c:v>410</c:v>
                </c:pt>
                <c:pt idx="410">
                  <c:v>411</c:v>
                </c:pt>
                <c:pt idx="411">
                  <c:v>412</c:v>
                </c:pt>
                <c:pt idx="412">
                  <c:v>413</c:v>
                </c:pt>
                <c:pt idx="413">
                  <c:v>414</c:v>
                </c:pt>
                <c:pt idx="414">
                  <c:v>415</c:v>
                </c:pt>
                <c:pt idx="415">
                  <c:v>416</c:v>
                </c:pt>
                <c:pt idx="416">
                  <c:v>417</c:v>
                </c:pt>
                <c:pt idx="417">
                  <c:v>418</c:v>
                </c:pt>
                <c:pt idx="418">
                  <c:v>419</c:v>
                </c:pt>
                <c:pt idx="419">
                  <c:v>420</c:v>
                </c:pt>
                <c:pt idx="420">
                  <c:v>421</c:v>
                </c:pt>
                <c:pt idx="421">
                  <c:v>422</c:v>
                </c:pt>
                <c:pt idx="422">
                  <c:v>423</c:v>
                </c:pt>
                <c:pt idx="423">
                  <c:v>424</c:v>
                </c:pt>
                <c:pt idx="424">
                  <c:v>425</c:v>
                </c:pt>
                <c:pt idx="425">
                  <c:v>426</c:v>
                </c:pt>
                <c:pt idx="426">
                  <c:v>427</c:v>
                </c:pt>
                <c:pt idx="427">
                  <c:v>428</c:v>
                </c:pt>
                <c:pt idx="428">
                  <c:v>429</c:v>
                </c:pt>
                <c:pt idx="429">
                  <c:v>430</c:v>
                </c:pt>
                <c:pt idx="430">
                  <c:v>431</c:v>
                </c:pt>
                <c:pt idx="431">
                  <c:v>432</c:v>
                </c:pt>
                <c:pt idx="432">
                  <c:v>433</c:v>
                </c:pt>
                <c:pt idx="433">
                  <c:v>434</c:v>
                </c:pt>
                <c:pt idx="434">
                  <c:v>435</c:v>
                </c:pt>
                <c:pt idx="435">
                  <c:v>436</c:v>
                </c:pt>
                <c:pt idx="436">
                  <c:v>437</c:v>
                </c:pt>
                <c:pt idx="437">
                  <c:v>438</c:v>
                </c:pt>
                <c:pt idx="438">
                  <c:v>439</c:v>
                </c:pt>
                <c:pt idx="439">
                  <c:v>440</c:v>
                </c:pt>
                <c:pt idx="440">
                  <c:v>441</c:v>
                </c:pt>
                <c:pt idx="441">
                  <c:v>442</c:v>
                </c:pt>
                <c:pt idx="442">
                  <c:v>443</c:v>
                </c:pt>
                <c:pt idx="443">
                  <c:v>444</c:v>
                </c:pt>
                <c:pt idx="444">
                  <c:v>445</c:v>
                </c:pt>
                <c:pt idx="445">
                  <c:v>446</c:v>
                </c:pt>
                <c:pt idx="446">
                  <c:v>447</c:v>
                </c:pt>
                <c:pt idx="447">
                  <c:v>448</c:v>
                </c:pt>
                <c:pt idx="448">
                  <c:v>449</c:v>
                </c:pt>
                <c:pt idx="449">
                  <c:v>450</c:v>
                </c:pt>
                <c:pt idx="450">
                  <c:v>451</c:v>
                </c:pt>
                <c:pt idx="451">
                  <c:v>452</c:v>
                </c:pt>
                <c:pt idx="452">
                  <c:v>453</c:v>
                </c:pt>
                <c:pt idx="453">
                  <c:v>454</c:v>
                </c:pt>
                <c:pt idx="454">
                  <c:v>455</c:v>
                </c:pt>
                <c:pt idx="455">
                  <c:v>456</c:v>
                </c:pt>
                <c:pt idx="456">
                  <c:v>457</c:v>
                </c:pt>
                <c:pt idx="457">
                  <c:v>458</c:v>
                </c:pt>
                <c:pt idx="458">
                  <c:v>459</c:v>
                </c:pt>
                <c:pt idx="459">
                  <c:v>460</c:v>
                </c:pt>
                <c:pt idx="460">
                  <c:v>461</c:v>
                </c:pt>
                <c:pt idx="461">
                  <c:v>462</c:v>
                </c:pt>
                <c:pt idx="462">
                  <c:v>463</c:v>
                </c:pt>
                <c:pt idx="463">
                  <c:v>464</c:v>
                </c:pt>
                <c:pt idx="464">
                  <c:v>465</c:v>
                </c:pt>
                <c:pt idx="465">
                  <c:v>466</c:v>
                </c:pt>
                <c:pt idx="466">
                  <c:v>467</c:v>
                </c:pt>
                <c:pt idx="467">
                  <c:v>468</c:v>
                </c:pt>
                <c:pt idx="468">
                  <c:v>469</c:v>
                </c:pt>
                <c:pt idx="469">
                  <c:v>470</c:v>
                </c:pt>
                <c:pt idx="470">
                  <c:v>471</c:v>
                </c:pt>
                <c:pt idx="471">
                  <c:v>472</c:v>
                </c:pt>
                <c:pt idx="472">
                  <c:v>473</c:v>
                </c:pt>
                <c:pt idx="473">
                  <c:v>474</c:v>
                </c:pt>
                <c:pt idx="474">
                  <c:v>475</c:v>
                </c:pt>
                <c:pt idx="475">
                  <c:v>476</c:v>
                </c:pt>
                <c:pt idx="476">
                  <c:v>477</c:v>
                </c:pt>
                <c:pt idx="477">
                  <c:v>478</c:v>
                </c:pt>
                <c:pt idx="478">
                  <c:v>479</c:v>
                </c:pt>
                <c:pt idx="479">
                  <c:v>480</c:v>
                </c:pt>
                <c:pt idx="480">
                  <c:v>481</c:v>
                </c:pt>
                <c:pt idx="481">
                  <c:v>482</c:v>
                </c:pt>
                <c:pt idx="482">
                  <c:v>483</c:v>
                </c:pt>
                <c:pt idx="483">
                  <c:v>484</c:v>
                </c:pt>
                <c:pt idx="484">
                  <c:v>485</c:v>
                </c:pt>
                <c:pt idx="485">
                  <c:v>486</c:v>
                </c:pt>
                <c:pt idx="486">
                  <c:v>487</c:v>
                </c:pt>
                <c:pt idx="487">
                  <c:v>488</c:v>
                </c:pt>
                <c:pt idx="488">
                  <c:v>489</c:v>
                </c:pt>
                <c:pt idx="489">
                  <c:v>490</c:v>
                </c:pt>
                <c:pt idx="490">
                  <c:v>491</c:v>
                </c:pt>
                <c:pt idx="491">
                  <c:v>492</c:v>
                </c:pt>
                <c:pt idx="492">
                  <c:v>493</c:v>
                </c:pt>
                <c:pt idx="493">
                  <c:v>494</c:v>
                </c:pt>
                <c:pt idx="494">
                  <c:v>495</c:v>
                </c:pt>
                <c:pt idx="495">
                  <c:v>496</c:v>
                </c:pt>
                <c:pt idx="496">
                  <c:v>497</c:v>
                </c:pt>
                <c:pt idx="497">
                  <c:v>498</c:v>
                </c:pt>
                <c:pt idx="498">
                  <c:v>499</c:v>
                </c:pt>
                <c:pt idx="499">
                  <c:v>500</c:v>
                </c:pt>
                <c:pt idx="500">
                  <c:v>501</c:v>
                </c:pt>
                <c:pt idx="501">
                  <c:v>502</c:v>
                </c:pt>
                <c:pt idx="502">
                  <c:v>503</c:v>
                </c:pt>
                <c:pt idx="503">
                  <c:v>504</c:v>
                </c:pt>
                <c:pt idx="504">
                  <c:v>505</c:v>
                </c:pt>
                <c:pt idx="505">
                  <c:v>506</c:v>
                </c:pt>
                <c:pt idx="506">
                  <c:v>507</c:v>
                </c:pt>
                <c:pt idx="507">
                  <c:v>508</c:v>
                </c:pt>
                <c:pt idx="508">
                  <c:v>509</c:v>
                </c:pt>
              </c:numCache>
            </c:numRef>
          </c:cat>
          <c:val>
            <c:numRef>
              <c:f>Chart!$K$5:$K$513</c:f>
              <c:numCache>
                <c:formatCode>0%</c:formatCode>
                <c:ptCount val="509"/>
                <c:pt idx="0">
                  <c:v>-2.9294299999999999E-2</c:v>
                </c:pt>
                <c:pt idx="1">
                  <c:v>6.1787112901569907E-2</c:v>
                </c:pt>
                <c:pt idx="2">
                  <c:v>7.4033977819199182E-2</c:v>
                </c:pt>
                <c:pt idx="3">
                  <c:v>0.1410684123006134</c:v>
                </c:pt>
                <c:pt idx="4">
                  <c:v>0.10262992533648996</c:v>
                </c:pt>
                <c:pt idx="5">
                  <c:v>0.13958401596917969</c:v>
                </c:pt>
                <c:pt idx="6">
                  <c:v>0.12133825024789879</c:v>
                </c:pt>
                <c:pt idx="7">
                  <c:v>7.1841258543706266E-2</c:v>
                </c:pt>
                <c:pt idx="8">
                  <c:v>9.6310001082622998E-2</c:v>
                </c:pt>
                <c:pt idx="9">
                  <c:v>7.9713183238233398E-2</c:v>
                </c:pt>
                <c:pt idx="10">
                  <c:v>0.1556531904115197</c:v>
                </c:pt>
                <c:pt idx="11">
                  <c:v>0.15379929156346139</c:v>
                </c:pt>
                <c:pt idx="12">
                  <c:v>0.19309227257744244</c:v>
                </c:pt>
                <c:pt idx="13">
                  <c:v>0.21037695825795377</c:v>
                </c:pt>
                <c:pt idx="14">
                  <c:v>0.19814658324554046</c:v>
                </c:pt>
                <c:pt idx="15">
                  <c:v>0.23477871688168972</c:v>
                </c:pt>
                <c:pt idx="16">
                  <c:v>0.20757641827091433</c:v>
                </c:pt>
                <c:pt idx="17">
                  <c:v>0.21460064878071261</c:v>
                </c:pt>
                <c:pt idx="18">
                  <c:v>0.24714514440440261</c:v>
                </c:pt>
                <c:pt idx="19">
                  <c:v>0.22484145007090306</c:v>
                </c:pt>
                <c:pt idx="20">
                  <c:v>0.18727262317774818</c:v>
                </c:pt>
                <c:pt idx="21">
                  <c:v>0.21449773424531249</c:v>
                </c:pt>
                <c:pt idx="22">
                  <c:v>0.21383911212403128</c:v>
                </c:pt>
                <c:pt idx="23">
                  <c:v>0.2307347814935079</c:v>
                </c:pt>
                <c:pt idx="24">
                  <c:v>0.24884393614188149</c:v>
                </c:pt>
                <c:pt idx="25">
                  <c:v>0.24229787088180665</c:v>
                </c:pt>
                <c:pt idx="26">
                  <c:v>0.27532013596643856</c:v>
                </c:pt>
                <c:pt idx="27">
                  <c:v>0.26357354479009243</c:v>
                </c:pt>
                <c:pt idx="28">
                  <c:v>0.22811653390709208</c:v>
                </c:pt>
                <c:pt idx="29">
                  <c:v>0.23333750291603783</c:v>
                </c:pt>
                <c:pt idx="30">
                  <c:v>0.24448601060614683</c:v>
                </c:pt>
                <c:pt idx="31">
                  <c:v>0.2358024850185414</c:v>
                </c:pt>
                <c:pt idx="32">
                  <c:v>0.25002026902843122</c:v>
                </c:pt>
                <c:pt idx="33">
                  <c:v>0.27111136101964028</c:v>
                </c:pt>
                <c:pt idx="34">
                  <c:v>0.27133622061940477</c:v>
                </c:pt>
                <c:pt idx="35">
                  <c:v>0.24521572803142466</c:v>
                </c:pt>
                <c:pt idx="36">
                  <c:v>0.22347027672966635</c:v>
                </c:pt>
                <c:pt idx="37">
                  <c:v>0.23757419738575081</c:v>
                </c:pt>
                <c:pt idx="38">
                  <c:v>0.24243043853629254</c:v>
                </c:pt>
                <c:pt idx="39">
                  <c:v>0.28156886099584355</c:v>
                </c:pt>
                <c:pt idx="40">
                  <c:v>0.26813289305716315</c:v>
                </c:pt>
                <c:pt idx="41">
                  <c:v>0.28924971517906184</c:v>
                </c:pt>
                <c:pt idx="42">
                  <c:v>0.27922476724377243</c:v>
                </c:pt>
                <c:pt idx="43">
                  <c:v>0.28223874871787569</c:v>
                </c:pt>
                <c:pt idx="44">
                  <c:v>0.29799310332787265</c:v>
                </c:pt>
                <c:pt idx="45">
                  <c:v>0.31724247084953539</c:v>
                </c:pt>
                <c:pt idx="46">
                  <c:v>0.31446572372098447</c:v>
                </c:pt>
                <c:pt idx="47">
                  <c:v>0.32078790951236535</c:v>
                </c:pt>
                <c:pt idx="48">
                  <c:v>0.32574588316709274</c:v>
                </c:pt>
                <c:pt idx="49">
                  <c:v>0.33663105231542434</c:v>
                </c:pt>
                <c:pt idx="50">
                  <c:v>0.35487379390674101</c:v>
                </c:pt>
                <c:pt idx="51">
                  <c:v>0.35030800470865464</c:v>
                </c:pt>
                <c:pt idx="52">
                  <c:v>0.38570254818967897</c:v>
                </c:pt>
                <c:pt idx="53">
                  <c:v>0.40238779257243085</c:v>
                </c:pt>
                <c:pt idx="54">
                  <c:v>0.3914512713720546</c:v>
                </c:pt>
                <c:pt idx="55">
                  <c:v>0.3840575167513649</c:v>
                </c:pt>
                <c:pt idx="56">
                  <c:v>0.30247507686096564</c:v>
                </c:pt>
                <c:pt idx="57">
                  <c:v>0.31948956928501571</c:v>
                </c:pt>
                <c:pt idx="58">
                  <c:v>0.33045597904430046</c:v>
                </c:pt>
                <c:pt idx="59">
                  <c:v>0.35568514968372167</c:v>
                </c:pt>
                <c:pt idx="60">
                  <c:v>0.35080386973377053</c:v>
                </c:pt>
                <c:pt idx="61">
                  <c:v>0.35160894884013194</c:v>
                </c:pt>
                <c:pt idx="62">
                  <c:v>0.34397208795739531</c:v>
                </c:pt>
                <c:pt idx="63">
                  <c:v>0.35270051468263475</c:v>
                </c:pt>
                <c:pt idx="64">
                  <c:v>0.35852497255875537</c:v>
                </c:pt>
                <c:pt idx="65">
                  <c:v>0.3234039774106745</c:v>
                </c:pt>
                <c:pt idx="66">
                  <c:v>0.33790464713156099</c:v>
                </c:pt>
                <c:pt idx="67">
                  <c:v>0.30549337189294024</c:v>
                </c:pt>
                <c:pt idx="68">
                  <c:v>0.32466388931250201</c:v>
                </c:pt>
                <c:pt idx="69">
                  <c:v>0.34507510531736263</c:v>
                </c:pt>
                <c:pt idx="70">
                  <c:v>0.35183168658639263</c:v>
                </c:pt>
                <c:pt idx="71">
                  <c:v>0.35797265238904874</c:v>
                </c:pt>
                <c:pt idx="72">
                  <c:v>0.37953793709531292</c:v>
                </c:pt>
                <c:pt idx="73">
                  <c:v>0.36461299206146602</c:v>
                </c:pt>
                <c:pt idx="74">
                  <c:v>0.37529668363761437</c:v>
                </c:pt>
                <c:pt idx="75">
                  <c:v>0.36753299632881165</c:v>
                </c:pt>
                <c:pt idx="76">
                  <c:v>0.38184751121458382</c:v>
                </c:pt>
                <c:pt idx="77">
                  <c:v>0.36891051662984164</c:v>
                </c:pt>
                <c:pt idx="78">
                  <c:v>0.3872619941247295</c:v>
                </c:pt>
                <c:pt idx="79">
                  <c:v>0.39985985901957544</c:v>
                </c:pt>
                <c:pt idx="80">
                  <c:v>0.3950938961435575</c:v>
                </c:pt>
                <c:pt idx="81">
                  <c:v>0.39906656552221587</c:v>
                </c:pt>
                <c:pt idx="82">
                  <c:v>0.41082893785853081</c:v>
                </c:pt>
                <c:pt idx="83">
                  <c:v>0.41319602665046973</c:v>
                </c:pt>
                <c:pt idx="84">
                  <c:v>0.42131695761761678</c:v>
                </c:pt>
                <c:pt idx="85">
                  <c:v>0.40380974386046598</c:v>
                </c:pt>
                <c:pt idx="86">
                  <c:v>0.39511805583135384</c:v>
                </c:pt>
                <c:pt idx="87">
                  <c:v>0.40543355873617082</c:v>
                </c:pt>
                <c:pt idx="88">
                  <c:v>0.39633520350698048</c:v>
                </c:pt>
                <c:pt idx="89">
                  <c:v>0.41369109155249073</c:v>
                </c:pt>
                <c:pt idx="90">
                  <c:v>0.40839187049580605</c:v>
                </c:pt>
                <c:pt idx="91">
                  <c:v>0.41919494033844407</c:v>
                </c:pt>
                <c:pt idx="92">
                  <c:v>0.42938561152703847</c:v>
                </c:pt>
                <c:pt idx="93">
                  <c:v>0.43454597946177342</c:v>
                </c:pt>
                <c:pt idx="94">
                  <c:v>0.44377125774649606</c:v>
                </c:pt>
                <c:pt idx="95">
                  <c:v>0.45304922060302655</c:v>
                </c:pt>
                <c:pt idx="96">
                  <c:v>0.45397219746795359</c:v>
                </c:pt>
                <c:pt idx="97">
                  <c:v>0.45795913463063065</c:v>
                </c:pt>
                <c:pt idx="98">
                  <c:v>0.44633890873579762</c:v>
                </c:pt>
                <c:pt idx="99">
                  <c:v>0.4665828805397001</c:v>
                </c:pt>
                <c:pt idx="100">
                  <c:v>0.46357887882549065</c:v>
                </c:pt>
                <c:pt idx="101">
                  <c:v>0.46332772868988403</c:v>
                </c:pt>
                <c:pt idx="102">
                  <c:v>0.46729671248840954</c:v>
                </c:pt>
                <c:pt idx="103">
                  <c:v>0.47067208184581788</c:v>
                </c:pt>
                <c:pt idx="104">
                  <c:v>0.46419685973665903</c:v>
                </c:pt>
                <c:pt idx="105">
                  <c:v>0.46882313613468307</c:v>
                </c:pt>
                <c:pt idx="106">
                  <c:v>0.47387500642910463</c:v>
                </c:pt>
                <c:pt idx="107">
                  <c:v>0.48868008086868508</c:v>
                </c:pt>
                <c:pt idx="108">
                  <c:v>0.49403382104351334</c:v>
                </c:pt>
                <c:pt idx="109">
                  <c:v>0.50926654167272667</c:v>
                </c:pt>
                <c:pt idx="110">
                  <c:v>0.51179063903701993</c:v>
                </c:pt>
                <c:pt idx="111">
                  <c:v>0.52197088602123132</c:v>
                </c:pt>
                <c:pt idx="112">
                  <c:v>0.51862757257590841</c:v>
                </c:pt>
                <c:pt idx="113">
                  <c:v>0.53005645996160022</c:v>
                </c:pt>
                <c:pt idx="114">
                  <c:v>0.55356837856489216</c:v>
                </c:pt>
                <c:pt idx="115">
                  <c:v>0.49899835712677332</c:v>
                </c:pt>
                <c:pt idx="116">
                  <c:v>0.48680655378875404</c:v>
                </c:pt>
                <c:pt idx="117">
                  <c:v>0.44553771031720579</c:v>
                </c:pt>
                <c:pt idx="118">
                  <c:v>0.47465662195383551</c:v>
                </c:pt>
                <c:pt idx="119">
                  <c:v>0.44872316313449301</c:v>
                </c:pt>
                <c:pt idx="120">
                  <c:v>0.44949591206970885</c:v>
                </c:pt>
                <c:pt idx="121">
                  <c:v>0.46796756322516919</c:v>
                </c:pt>
                <c:pt idx="122">
                  <c:v>0.47562917953115402</c:v>
                </c:pt>
                <c:pt idx="123">
                  <c:v>0.46881339591381765</c:v>
                </c:pt>
                <c:pt idx="124">
                  <c:v>0.45645670945801342</c:v>
                </c:pt>
                <c:pt idx="125">
                  <c:v>0.44016798891077702</c:v>
                </c:pt>
                <c:pt idx="126">
                  <c:v>0.42350495724548165</c:v>
                </c:pt>
                <c:pt idx="127">
                  <c:v>0.43847610123132807</c:v>
                </c:pt>
                <c:pt idx="128">
                  <c:v>0.40435516041490072</c:v>
                </c:pt>
                <c:pt idx="129">
                  <c:v>0.40854926710147987</c:v>
                </c:pt>
                <c:pt idx="130">
                  <c:v>0.43105295446732672</c:v>
                </c:pt>
                <c:pt idx="131">
                  <c:v>0.45410922103793161</c:v>
                </c:pt>
                <c:pt idx="132">
                  <c:v>0.4471135015755181</c:v>
                </c:pt>
                <c:pt idx="133">
                  <c:v>0.45905493747916926</c:v>
                </c:pt>
                <c:pt idx="134">
                  <c:v>0.46677742345225925</c:v>
                </c:pt>
                <c:pt idx="135">
                  <c:v>0.45274007015433648</c:v>
                </c:pt>
                <c:pt idx="136">
                  <c:v>0.47885074853124854</c:v>
                </c:pt>
                <c:pt idx="137">
                  <c:v>0.45816680253691611</c:v>
                </c:pt>
                <c:pt idx="138">
                  <c:v>0.48354619573507107</c:v>
                </c:pt>
                <c:pt idx="139">
                  <c:v>0.49542480176970227</c:v>
                </c:pt>
                <c:pt idx="140">
                  <c:v>0.5085731747967821</c:v>
                </c:pt>
                <c:pt idx="141">
                  <c:v>0.53333836460619843</c:v>
                </c:pt>
                <c:pt idx="142">
                  <c:v>0.52366943954666456</c:v>
                </c:pt>
                <c:pt idx="143">
                  <c:v>0.5135763484452196</c:v>
                </c:pt>
                <c:pt idx="144">
                  <c:v>0.51126617686458764</c:v>
                </c:pt>
                <c:pt idx="145">
                  <c:v>0.51146853540566983</c:v>
                </c:pt>
                <c:pt idx="146">
                  <c:v>0.4867892771595661</c:v>
                </c:pt>
                <c:pt idx="147">
                  <c:v>0.49381450517307268</c:v>
                </c:pt>
                <c:pt idx="148">
                  <c:v>0.49053393913826215</c:v>
                </c:pt>
                <c:pt idx="149">
                  <c:v>0.49831497346074549</c:v>
                </c:pt>
                <c:pt idx="150">
                  <c:v>0.50347651871282051</c:v>
                </c:pt>
                <c:pt idx="151">
                  <c:v>0.47552794266351217</c:v>
                </c:pt>
                <c:pt idx="152">
                  <c:v>0.47106624127048624</c:v>
                </c:pt>
                <c:pt idx="153">
                  <c:v>0.41915246072267487</c:v>
                </c:pt>
                <c:pt idx="154">
                  <c:v>0.43610991347585015</c:v>
                </c:pt>
                <c:pt idx="155">
                  <c:v>0.41868903855943995</c:v>
                </c:pt>
                <c:pt idx="156">
                  <c:v>0.43616572695654976</c:v>
                </c:pt>
                <c:pt idx="157">
                  <c:v>0.46172646094834957</c:v>
                </c:pt>
                <c:pt idx="158">
                  <c:v>0.49395343657817015</c:v>
                </c:pt>
                <c:pt idx="159">
                  <c:v>0.52302621864001231</c:v>
                </c:pt>
                <c:pt idx="160">
                  <c:v>0.52258758708904396</c:v>
                </c:pt>
                <c:pt idx="161">
                  <c:v>0.54040292766929676</c:v>
                </c:pt>
                <c:pt idx="162">
                  <c:v>0.53824821205407281</c:v>
                </c:pt>
                <c:pt idx="163">
                  <c:v>0.5500175029493195</c:v>
                </c:pt>
                <c:pt idx="164">
                  <c:v>0.53455018829088896</c:v>
                </c:pt>
                <c:pt idx="165">
                  <c:v>0.5554377181788106</c:v>
                </c:pt>
                <c:pt idx="166">
                  <c:v>0.57355296801980837</c:v>
                </c:pt>
                <c:pt idx="167">
                  <c:v>0.56601439046061919</c:v>
                </c:pt>
                <c:pt idx="168">
                  <c:v>0.54790406044069817</c:v>
                </c:pt>
                <c:pt idx="169">
                  <c:v>0.55401178028238518</c:v>
                </c:pt>
                <c:pt idx="170">
                  <c:v>0.54345910788719975</c:v>
                </c:pt>
                <c:pt idx="171">
                  <c:v>0.55215649996014426</c:v>
                </c:pt>
                <c:pt idx="172">
                  <c:v>0.57724012507775013</c:v>
                </c:pt>
                <c:pt idx="173">
                  <c:v>0.57474098809956442</c:v>
                </c:pt>
                <c:pt idx="174">
                  <c:v>0.57851879173001541</c:v>
                </c:pt>
                <c:pt idx="175">
                  <c:v>0.57126470862262013</c:v>
                </c:pt>
                <c:pt idx="176">
                  <c:v>0.58897459027997678</c:v>
                </c:pt>
                <c:pt idx="177">
                  <c:v>0.59181742471944676</c:v>
                </c:pt>
                <c:pt idx="178">
                  <c:v>0.59082413064642192</c:v>
                </c:pt>
                <c:pt idx="179">
                  <c:v>0.60488335706583563</c:v>
                </c:pt>
                <c:pt idx="180">
                  <c:v>0.60177790776991325</c:v>
                </c:pt>
                <c:pt idx="181">
                  <c:v>0.60623982030979695</c:v>
                </c:pt>
                <c:pt idx="182">
                  <c:v>0.59347214122611858</c:v>
                </c:pt>
                <c:pt idx="183">
                  <c:v>0.59142612299678432</c:v>
                </c:pt>
                <c:pt idx="184">
                  <c:v>0.589410581812009</c:v>
                </c:pt>
                <c:pt idx="185">
                  <c:v>0.58248424837858859</c:v>
                </c:pt>
                <c:pt idx="186">
                  <c:v>0.60293136910346323</c:v>
                </c:pt>
                <c:pt idx="187">
                  <c:v>0.60577384730029427</c:v>
                </c:pt>
                <c:pt idx="188">
                  <c:v>0.61501860849397127</c:v>
                </c:pt>
                <c:pt idx="189">
                  <c:v>0.60934650163907955</c:v>
                </c:pt>
                <c:pt idx="190">
                  <c:v>0.60306055513832746</c:v>
                </c:pt>
                <c:pt idx="191">
                  <c:v>0.59973757091358104</c:v>
                </c:pt>
                <c:pt idx="192">
                  <c:v>0.60093209495778233</c:v>
                </c:pt>
                <c:pt idx="193">
                  <c:v>0.60659138991345829</c:v>
                </c:pt>
                <c:pt idx="194">
                  <c:v>0.62060408001628331</c:v>
                </c:pt>
                <c:pt idx="195">
                  <c:v>0.61699629121335109</c:v>
                </c:pt>
                <c:pt idx="196">
                  <c:v>0.61916646193578861</c:v>
                </c:pt>
                <c:pt idx="197">
                  <c:v>0.62959178903425439</c:v>
                </c:pt>
                <c:pt idx="198">
                  <c:v>0.605545532595265</c:v>
                </c:pt>
                <c:pt idx="199">
                  <c:v>0.61691648772076446</c:v>
                </c:pt>
                <c:pt idx="200">
                  <c:v>0.62614972763224497</c:v>
                </c:pt>
                <c:pt idx="201">
                  <c:v>0.65029496140310128</c:v>
                </c:pt>
                <c:pt idx="202">
                  <c:v>0.65935838133112723</c:v>
                </c:pt>
                <c:pt idx="203">
                  <c:v>0.64847912997560608</c:v>
                </c:pt>
                <c:pt idx="204">
                  <c:v>0.64916720516445769</c:v>
                </c:pt>
                <c:pt idx="205">
                  <c:v>0.65292103955685321</c:v>
                </c:pt>
                <c:pt idx="206">
                  <c:v>0.64671613926646088</c:v>
                </c:pt>
                <c:pt idx="207">
                  <c:v>0.63487394482254023</c:v>
                </c:pt>
                <c:pt idx="208">
                  <c:v>0.64817642364937789</c:v>
                </c:pt>
                <c:pt idx="209">
                  <c:v>0.67114409174821654</c:v>
                </c:pt>
                <c:pt idx="210">
                  <c:v>0.67167651825584751</c:v>
                </c:pt>
                <c:pt idx="211">
                  <c:v>0.6666404255769498</c:v>
                </c:pt>
                <c:pt idx="212">
                  <c:v>0.67266666402775077</c:v>
                </c:pt>
                <c:pt idx="213">
                  <c:v>0.67017873963167585</c:v>
                </c:pt>
                <c:pt idx="214">
                  <c:v>0.62729305908053146</c:v>
                </c:pt>
                <c:pt idx="215">
                  <c:v>0.6431738120440984</c:v>
                </c:pt>
                <c:pt idx="216">
                  <c:v>0.6114441257335268</c:v>
                </c:pt>
                <c:pt idx="217">
                  <c:v>0.63730812624037503</c:v>
                </c:pt>
                <c:pt idx="218">
                  <c:v>0.66006638173349086</c:v>
                </c:pt>
                <c:pt idx="219">
                  <c:v>0.66174089069274555</c:v>
                </c:pt>
                <c:pt idx="220">
                  <c:v>0.67977543223125592</c:v>
                </c:pt>
                <c:pt idx="221">
                  <c:v>0.68632286091100703</c:v>
                </c:pt>
                <c:pt idx="222">
                  <c:v>0.6987991205974573</c:v>
                </c:pt>
                <c:pt idx="223">
                  <c:v>0.69690716801684793</c:v>
                </c:pt>
                <c:pt idx="224">
                  <c:v>0.6963224138067492</c:v>
                </c:pt>
                <c:pt idx="225">
                  <c:v>0.69914034460056507</c:v>
                </c:pt>
                <c:pt idx="226">
                  <c:v>0.70714873287273661</c:v>
                </c:pt>
                <c:pt idx="227">
                  <c:v>0.70617497523550599</c:v>
                </c:pt>
                <c:pt idx="228">
                  <c:v>0.70562882862593312</c:v>
                </c:pt>
                <c:pt idx="229">
                  <c:v>0.69809745397025247</c:v>
                </c:pt>
                <c:pt idx="230">
                  <c:v>0.69494612471517447</c:v>
                </c:pt>
                <c:pt idx="231">
                  <c:v>0.68184029279503933</c:v>
                </c:pt>
                <c:pt idx="232">
                  <c:v>0.68395268420278987</c:v>
                </c:pt>
                <c:pt idx="233">
                  <c:v>0.70306773630698105</c:v>
                </c:pt>
                <c:pt idx="234">
                  <c:v>0.66137783026960162</c:v>
                </c:pt>
                <c:pt idx="235">
                  <c:v>0.65348761467808525</c:v>
                </c:pt>
                <c:pt idx="236">
                  <c:v>0.69282342363623095</c:v>
                </c:pt>
                <c:pt idx="237">
                  <c:v>0.67914761104370092</c:v>
                </c:pt>
                <c:pt idx="238">
                  <c:v>0.65720434214782064</c:v>
                </c:pt>
                <c:pt idx="239">
                  <c:v>0.63497228301617081</c:v>
                </c:pt>
                <c:pt idx="240">
                  <c:v>0.66684655816525606</c:v>
                </c:pt>
                <c:pt idx="241">
                  <c:v>0.65791142719021112</c:v>
                </c:pt>
                <c:pt idx="242">
                  <c:v>0.68138115293580115</c:v>
                </c:pt>
                <c:pt idx="243">
                  <c:v>0.69151719107815923</c:v>
                </c:pt>
                <c:pt idx="244">
                  <c:v>0.70910271125176516</c:v>
                </c:pt>
                <c:pt idx="245">
                  <c:v>0.71084001415775244</c:v>
                </c:pt>
                <c:pt idx="246">
                  <c:v>0.72194422126964319</c:v>
                </c:pt>
                <c:pt idx="247">
                  <c:v>0.71924145761993841</c:v>
                </c:pt>
                <c:pt idx="248">
                  <c:v>0.72419115377642629</c:v>
                </c:pt>
                <c:pt idx="249">
                  <c:v>0.69874329928049383</c:v>
                </c:pt>
                <c:pt idx="250">
                  <c:v>0.69771844744803801</c:v>
                </c:pt>
                <c:pt idx="251">
                  <c:v>0.70964339159475776</c:v>
                </c:pt>
                <c:pt idx="252">
                  <c:v>0.69659761576651569</c:v>
                </c:pt>
                <c:pt idx="253">
                  <c:v>0.68732452217802065</c:v>
                </c:pt>
                <c:pt idx="254">
                  <c:v>0.69616374041990237</c:v>
                </c:pt>
                <c:pt idx="255">
                  <c:v>0.72437365728506986</c:v>
                </c:pt>
                <c:pt idx="256">
                  <c:v>0.72288034969786086</c:v>
                </c:pt>
                <c:pt idx="257">
                  <c:v>0.71743880440137509</c:v>
                </c:pt>
                <c:pt idx="258">
                  <c:v>0.72366022647031913</c:v>
                </c:pt>
                <c:pt idx="259">
                  <c:v>0.74403975079196827</c:v>
                </c:pt>
                <c:pt idx="260">
                  <c:v>0.76922420800532953</c:v>
                </c:pt>
                <c:pt idx="261">
                  <c:v>0.76750045285946999</c:v>
                </c:pt>
                <c:pt idx="262">
                  <c:v>0.7701089300277999</c:v>
                </c:pt>
                <c:pt idx="263">
                  <c:v>0.77757772764715916</c:v>
                </c:pt>
                <c:pt idx="264">
                  <c:v>0.79130240528232298</c:v>
                </c:pt>
                <c:pt idx="265">
                  <c:v>0.79095148914112823</c:v>
                </c:pt>
                <c:pt idx="266">
                  <c:v>0.79685213701240176</c:v>
                </c:pt>
                <c:pt idx="267">
                  <c:v>0.78950552736501289</c:v>
                </c:pt>
                <c:pt idx="268">
                  <c:v>0.8093597332900222</c:v>
                </c:pt>
                <c:pt idx="269">
                  <c:v>0.81588754133578578</c:v>
                </c:pt>
                <c:pt idx="270">
                  <c:v>0.80625135250893321</c:v>
                </c:pt>
                <c:pt idx="271">
                  <c:v>0.79396523080916759</c:v>
                </c:pt>
                <c:pt idx="272">
                  <c:v>0.8106609476262161</c:v>
                </c:pt>
                <c:pt idx="273">
                  <c:v>0.79398367390201008</c:v>
                </c:pt>
                <c:pt idx="274">
                  <c:v>0.81358778929530917</c:v>
                </c:pt>
                <c:pt idx="275">
                  <c:v>0.81681996545339142</c:v>
                </c:pt>
                <c:pt idx="276">
                  <c:v>0.81642989420680845</c:v>
                </c:pt>
                <c:pt idx="277">
                  <c:v>0.81489610080414021</c:v>
                </c:pt>
                <c:pt idx="278">
                  <c:v>0.82717060611309878</c:v>
                </c:pt>
                <c:pt idx="279">
                  <c:v>0.8140248444703575</c:v>
                </c:pt>
                <c:pt idx="280">
                  <c:v>0.81900670090072669</c:v>
                </c:pt>
                <c:pt idx="281">
                  <c:v>0.80685937415211173</c:v>
                </c:pt>
                <c:pt idx="282">
                  <c:v>0.80812995766401552</c:v>
                </c:pt>
                <c:pt idx="283">
                  <c:v>0.82289442364631693</c:v>
                </c:pt>
                <c:pt idx="284">
                  <c:v>0.83633644712628485</c:v>
                </c:pt>
                <c:pt idx="285">
                  <c:v>0.81717133816220655</c:v>
                </c:pt>
                <c:pt idx="286">
                  <c:v>0.8014084671064523</c:v>
                </c:pt>
                <c:pt idx="287">
                  <c:v>0.76277041717717942</c:v>
                </c:pt>
                <c:pt idx="288">
                  <c:v>0.78422809263435211</c:v>
                </c:pt>
                <c:pt idx="289">
                  <c:v>0.81084859735364745</c:v>
                </c:pt>
                <c:pt idx="290">
                  <c:v>0.80626552063860513</c:v>
                </c:pt>
                <c:pt idx="291">
                  <c:v>0.79088065406656582</c:v>
                </c:pt>
                <c:pt idx="292">
                  <c:v>0.78560794324486305</c:v>
                </c:pt>
                <c:pt idx="293">
                  <c:v>0.8044578920585217</c:v>
                </c:pt>
                <c:pt idx="294">
                  <c:v>0.80304067083009878</c:v>
                </c:pt>
                <c:pt idx="295">
                  <c:v>0.82091096752682979</c:v>
                </c:pt>
                <c:pt idx="296">
                  <c:v>0.81704389890509321</c:v>
                </c:pt>
                <c:pt idx="297">
                  <c:v>0.82045376348577825</c:v>
                </c:pt>
                <c:pt idx="298">
                  <c:v>0.82257186143959404</c:v>
                </c:pt>
                <c:pt idx="299">
                  <c:v>0.82397524177290249</c:v>
                </c:pt>
                <c:pt idx="300">
                  <c:v>0.82307766355642609</c:v>
                </c:pt>
                <c:pt idx="301">
                  <c:v>0.82571438078122772</c:v>
                </c:pt>
                <c:pt idx="302">
                  <c:v>0.81909178443638209</c:v>
                </c:pt>
                <c:pt idx="303">
                  <c:v>0.83516000407748692</c:v>
                </c:pt>
                <c:pt idx="304">
                  <c:v>0.8336977485862378</c:v>
                </c:pt>
                <c:pt idx="305">
                  <c:v>0.83401662862471704</c:v>
                </c:pt>
                <c:pt idx="306">
                  <c:v>0.83067248270408278</c:v>
                </c:pt>
                <c:pt idx="307">
                  <c:v>0.83919224937133952</c:v>
                </c:pt>
                <c:pt idx="308">
                  <c:v>0.84277407627699019</c:v>
                </c:pt>
                <c:pt idx="309">
                  <c:v>0.84611926405765603</c:v>
                </c:pt>
                <c:pt idx="310">
                  <c:v>0.84240708744148884</c:v>
                </c:pt>
                <c:pt idx="311">
                  <c:v>0.83247614475876164</c:v>
                </c:pt>
                <c:pt idx="312">
                  <c:v>0.83167535268350212</c:v>
                </c:pt>
                <c:pt idx="313">
                  <c:v>0.80763754436009538</c:v>
                </c:pt>
                <c:pt idx="314">
                  <c:v>0.8329462776186809</c:v>
                </c:pt>
                <c:pt idx="315">
                  <c:v>0.84233811105057144</c:v>
                </c:pt>
                <c:pt idx="316">
                  <c:v>0.84034285887630378</c:v>
                </c:pt>
                <c:pt idx="317">
                  <c:v>0.85103727526352002</c:v>
                </c:pt>
                <c:pt idx="318">
                  <c:v>0.85720530167215303</c:v>
                </c:pt>
                <c:pt idx="319">
                  <c:v>0.86150287474022225</c:v>
                </c:pt>
                <c:pt idx="320">
                  <c:v>0.86202093099026245</c:v>
                </c:pt>
                <c:pt idx="321">
                  <c:v>0.86449164656359345</c:v>
                </c:pt>
                <c:pt idx="322">
                  <c:v>0.87422876773860736</c:v>
                </c:pt>
                <c:pt idx="323">
                  <c:v>0.88828510865089316</c:v>
                </c:pt>
                <c:pt idx="324">
                  <c:v>0.88446907327482061</c:v>
                </c:pt>
                <c:pt idx="325">
                  <c:v>0.89079900489195052</c:v>
                </c:pt>
                <c:pt idx="326">
                  <c:v>0.87460941657236413</c:v>
                </c:pt>
                <c:pt idx="327">
                  <c:v>0.89575257379905904</c:v>
                </c:pt>
                <c:pt idx="328">
                  <c:v>0.90229273060340831</c:v>
                </c:pt>
                <c:pt idx="329">
                  <c:v>0.89560445959187973</c:v>
                </c:pt>
                <c:pt idx="330">
                  <c:v>0.89781151186418229</c:v>
                </c:pt>
                <c:pt idx="331">
                  <c:v>0.89162047115017895</c:v>
                </c:pt>
                <c:pt idx="332">
                  <c:v>0.8773603010663662</c:v>
                </c:pt>
                <c:pt idx="333">
                  <c:v>0.84756940912889456</c:v>
                </c:pt>
                <c:pt idx="334">
                  <c:v>0.875581702239284</c:v>
                </c:pt>
                <c:pt idx="335">
                  <c:v>0.89104193465267212</c:v>
                </c:pt>
                <c:pt idx="336">
                  <c:v>0.89485200594261038</c:v>
                </c:pt>
                <c:pt idx="337">
                  <c:v>0.91407925873211049</c:v>
                </c:pt>
                <c:pt idx="338">
                  <c:v>0.91863955256603957</c:v>
                </c:pt>
                <c:pt idx="339">
                  <c:v>0.90959777181061696</c:v>
                </c:pt>
                <c:pt idx="340">
                  <c:v>0.90923876742951659</c:v>
                </c:pt>
                <c:pt idx="341">
                  <c:v>0.91727074400021591</c:v>
                </c:pt>
                <c:pt idx="342">
                  <c:v>0.90690827908304361</c:v>
                </c:pt>
                <c:pt idx="343">
                  <c:v>0.9033906053806191</c:v>
                </c:pt>
                <c:pt idx="344">
                  <c:v>0.91900830597588801</c:v>
                </c:pt>
                <c:pt idx="345">
                  <c:v>0.91011754049430182</c:v>
                </c:pt>
                <c:pt idx="346">
                  <c:v>0.92158951543075629</c:v>
                </c:pt>
                <c:pt idx="347">
                  <c:v>0.92480644843853899</c:v>
                </c:pt>
                <c:pt idx="348">
                  <c:v>0.92299963262538975</c:v>
                </c:pt>
                <c:pt idx="349">
                  <c:v>0.92490859436069717</c:v>
                </c:pt>
                <c:pt idx="350">
                  <c:v>0.9296596537532984</c:v>
                </c:pt>
                <c:pt idx="351">
                  <c:v>0.93535543015328182</c:v>
                </c:pt>
                <c:pt idx="352">
                  <c:v>0.93846670754279637</c:v>
                </c:pt>
                <c:pt idx="353">
                  <c:v>0.94354510262321689</c:v>
                </c:pt>
                <c:pt idx="354">
                  <c:v>0.92982075888104299</c:v>
                </c:pt>
                <c:pt idx="355">
                  <c:v>0.90907846641836176</c:v>
                </c:pt>
                <c:pt idx="356">
                  <c:v>0.9114804689448095</c:v>
                </c:pt>
                <c:pt idx="357">
                  <c:v>0.92703953766592639</c:v>
                </c:pt>
                <c:pt idx="358">
                  <c:v>0.94346754972452818</c:v>
                </c:pt>
                <c:pt idx="359">
                  <c:v>0.94637594891269106</c:v>
                </c:pt>
                <c:pt idx="360">
                  <c:v>0.9506957356937078</c:v>
                </c:pt>
                <c:pt idx="361">
                  <c:v>0.93933117740712979</c:v>
                </c:pt>
                <c:pt idx="362">
                  <c:v>0.95641319428396732</c:v>
                </c:pt>
                <c:pt idx="363">
                  <c:v>0.96484063975966494</c:v>
                </c:pt>
                <c:pt idx="364">
                  <c:v>0.9621883013800534</c:v>
                </c:pt>
                <c:pt idx="365">
                  <c:v>0.96280089656774415</c:v>
                </c:pt>
                <c:pt idx="366">
                  <c:v>0.96837760647507243</c:v>
                </c:pt>
                <c:pt idx="367">
                  <c:v>0.96772095570555217</c:v>
                </c:pt>
                <c:pt idx="368">
                  <c:v>0.96103739470740268</c:v>
                </c:pt>
                <c:pt idx="369">
                  <c:v>0.95845196300622026</c:v>
                </c:pt>
                <c:pt idx="370">
                  <c:v>0.94943466263295062</c:v>
                </c:pt>
                <c:pt idx="371">
                  <c:v>0.93437800907263857</c:v>
                </c:pt>
                <c:pt idx="372">
                  <c:v>0.93878007310788525</c:v>
                </c:pt>
                <c:pt idx="373">
                  <c:v>0.92764023056382183</c:v>
                </c:pt>
                <c:pt idx="374">
                  <c:v>0.94397563216968883</c:v>
                </c:pt>
                <c:pt idx="375">
                  <c:v>0.94096091475932009</c:v>
                </c:pt>
                <c:pt idx="376">
                  <c:v>0.92327468480794184</c:v>
                </c:pt>
                <c:pt idx="377">
                  <c:v>0.8906228658290205</c:v>
                </c:pt>
                <c:pt idx="378">
                  <c:v>0.88908749099968087</c:v>
                </c:pt>
                <c:pt idx="379">
                  <c:v>0.90707009264400495</c:v>
                </c:pt>
                <c:pt idx="380">
                  <c:v>0.93021486740936066</c:v>
                </c:pt>
                <c:pt idx="381">
                  <c:v>0.93303220902983131</c:v>
                </c:pt>
                <c:pt idx="382">
                  <c:v>0.92766649822400638</c:v>
                </c:pt>
                <c:pt idx="383">
                  <c:v>0.88841303978737129</c:v>
                </c:pt>
                <c:pt idx="384">
                  <c:v>0.89137482679897384</c:v>
                </c:pt>
                <c:pt idx="385">
                  <c:v>0.86884798519935003</c:v>
                </c:pt>
                <c:pt idx="386">
                  <c:v>0.89032385182126839</c:v>
                </c:pt>
                <c:pt idx="387">
                  <c:v>0.86577629531390254</c:v>
                </c:pt>
                <c:pt idx="388">
                  <c:v>0.88541135189052711</c:v>
                </c:pt>
                <c:pt idx="389">
                  <c:v>0.89314644050279313</c:v>
                </c:pt>
                <c:pt idx="390">
                  <c:v>0.90885993458825465</c:v>
                </c:pt>
                <c:pt idx="391">
                  <c:v>0.9052046586995115</c:v>
                </c:pt>
                <c:pt idx="392">
                  <c:v>0.89212504767660761</c:v>
                </c:pt>
                <c:pt idx="393">
                  <c:v>0.88755026773633516</c:v>
                </c:pt>
                <c:pt idx="394">
                  <c:v>0.89325916352110357</c:v>
                </c:pt>
                <c:pt idx="395">
                  <c:v>0.92556403395418063</c:v>
                </c:pt>
                <c:pt idx="396">
                  <c:v>0.9399264309706381</c:v>
                </c:pt>
                <c:pt idx="397">
                  <c:v>0.94647426465309348</c:v>
                </c:pt>
                <c:pt idx="398">
                  <c:v>0.96086532748137965</c:v>
                </c:pt>
                <c:pt idx="399">
                  <c:v>0.9680507223874022</c:v>
                </c:pt>
                <c:pt idx="400">
                  <c:v>0.97394641193645826</c:v>
                </c:pt>
                <c:pt idx="401">
                  <c:v>0.97182777525252684</c:v>
                </c:pt>
                <c:pt idx="402">
                  <c:v>0.98119021071220347</c:v>
                </c:pt>
                <c:pt idx="403">
                  <c:v>0.98479597689569953</c:v>
                </c:pt>
                <c:pt idx="404">
                  <c:v>0.97477057393680178</c:v>
                </c:pt>
                <c:pt idx="405">
                  <c:v>0.99417861913745265</c:v>
                </c:pt>
                <c:pt idx="406">
                  <c:v>0.99806666919118481</c:v>
                </c:pt>
                <c:pt idx="407">
                  <c:v>1.0016661862957328</c:v>
                </c:pt>
                <c:pt idx="408">
                  <c:v>1.0090331185277752</c:v>
                </c:pt>
                <c:pt idx="409">
                  <c:v>1.0220124769900241</c:v>
                </c:pt>
                <c:pt idx="410">
                  <c:v>1.0304667133575673</c:v>
                </c:pt>
                <c:pt idx="411">
                  <c:v>1.0380466486452025</c:v>
                </c:pt>
                <c:pt idx="412">
                  <c:v>1.0398580645065185</c:v>
                </c:pt>
                <c:pt idx="413">
                  <c:v>1.0327208051246166</c:v>
                </c:pt>
                <c:pt idx="414">
                  <c:v>1.0159984241491786</c:v>
                </c:pt>
                <c:pt idx="415">
                  <c:v>1.0171098440804118</c:v>
                </c:pt>
                <c:pt idx="416">
                  <c:v>1.0316780165073136</c:v>
                </c:pt>
                <c:pt idx="417">
                  <c:v>1.0316589187339584</c:v>
                </c:pt>
                <c:pt idx="418">
                  <c:v>1.0395088424641625</c:v>
                </c:pt>
                <c:pt idx="419">
                  <c:v>1.0342042839157974</c:v>
                </c:pt>
                <c:pt idx="420">
                  <c:v>1.0410900654168525</c:v>
                </c:pt>
                <c:pt idx="421">
                  <c:v>1.0382323352162621</c:v>
                </c:pt>
                <c:pt idx="422">
                  <c:v>1.0317195714355454</c:v>
                </c:pt>
                <c:pt idx="423">
                  <c:v>1.0350836927019285</c:v>
                </c:pt>
                <c:pt idx="424">
                  <c:v>1.0397550238101565</c:v>
                </c:pt>
                <c:pt idx="425">
                  <c:v>0.99339914318804201</c:v>
                </c:pt>
                <c:pt idx="426">
                  <c:v>1.0197132079176101</c:v>
                </c:pt>
                <c:pt idx="427">
                  <c:v>0.9814174257822843</c:v>
                </c:pt>
                <c:pt idx="428">
                  <c:v>0.95800420491227056</c:v>
                </c:pt>
                <c:pt idx="429">
                  <c:v>0.98579885780268217</c:v>
                </c:pt>
                <c:pt idx="430">
                  <c:v>0.9690204460933356</c:v>
                </c:pt>
                <c:pt idx="431">
                  <c:v>0.99212060016281334</c:v>
                </c:pt>
                <c:pt idx="432">
                  <c:v>1.0333688516736044</c:v>
                </c:pt>
                <c:pt idx="433">
                  <c:v>1.0396434212760988</c:v>
                </c:pt>
                <c:pt idx="434">
                  <c:v>1.0249991894400208</c:v>
                </c:pt>
                <c:pt idx="435">
                  <c:v>1.0443361091999028</c:v>
                </c:pt>
                <c:pt idx="436">
                  <c:v>1.0256578279045869</c:v>
                </c:pt>
                <c:pt idx="437">
                  <c:v>1.0105229228776151</c:v>
                </c:pt>
                <c:pt idx="438">
                  <c:v>1.0433945705620795</c:v>
                </c:pt>
                <c:pt idx="439">
                  <c:v>1.0255273327765417</c:v>
                </c:pt>
                <c:pt idx="440">
                  <c:v>1.0046883024714703</c:v>
                </c:pt>
                <c:pt idx="441">
                  <c:v>0.98185811020760427</c:v>
                </c:pt>
                <c:pt idx="442">
                  <c:v>1.0170911873192527</c:v>
                </c:pt>
                <c:pt idx="443">
                  <c:v>1.0376275961155872</c:v>
                </c:pt>
                <c:pt idx="444">
                  <c:v>1.0503077526462148</c:v>
                </c:pt>
                <c:pt idx="445">
                  <c:v>1.0786833968505123</c:v>
                </c:pt>
                <c:pt idx="446">
                  <c:v>1.0765845502247124</c:v>
                </c:pt>
                <c:pt idx="447">
                  <c:v>1.0794930145457573</c:v>
                </c:pt>
                <c:pt idx="448">
                  <c:v>1.0732753304322653</c:v>
                </c:pt>
                <c:pt idx="449">
                  <c:v>1.0678329826898807</c:v>
                </c:pt>
                <c:pt idx="450">
                  <c:v>1.081012729771651</c:v>
                </c:pt>
                <c:pt idx="451">
                  <c:v>1.0797006512455298</c:v>
                </c:pt>
                <c:pt idx="452">
                  <c:v>1.0393700563662507</c:v>
                </c:pt>
                <c:pt idx="453">
                  <c:v>1.0374071626869981</c:v>
                </c:pt>
                <c:pt idx="454">
                  <c:v>1.0291526075673718</c:v>
                </c:pt>
                <c:pt idx="455">
                  <c:v>1.026229613236171</c:v>
                </c:pt>
                <c:pt idx="456">
                  <c:v>1.0447886607556462</c:v>
                </c:pt>
                <c:pt idx="457">
                  <c:v>1.0505496483284595</c:v>
                </c:pt>
                <c:pt idx="458">
                  <c:v>1.0213424393575283</c:v>
                </c:pt>
                <c:pt idx="459">
                  <c:v>1.0230035785741922</c:v>
                </c:pt>
                <c:pt idx="460">
                  <c:v>0.98580236346743355</c:v>
                </c:pt>
                <c:pt idx="461">
                  <c:v>0.96656132862708843</c:v>
                </c:pt>
                <c:pt idx="462">
                  <c:v>0.94485462133783549</c:v>
                </c:pt>
                <c:pt idx="463">
                  <c:v>0.90806866860254121</c:v>
                </c:pt>
                <c:pt idx="464">
                  <c:v>0.91335669011070642</c:v>
                </c:pt>
                <c:pt idx="465">
                  <c:v>0.89007018251371406</c:v>
                </c:pt>
                <c:pt idx="466">
                  <c:v>0.88723923539434502</c:v>
                </c:pt>
                <c:pt idx="467">
                  <c:v>0.87708060403806432</c:v>
                </c:pt>
                <c:pt idx="468">
                  <c:v>0.92278094696427715</c:v>
                </c:pt>
                <c:pt idx="469">
                  <c:v>0.95909401109436043</c:v>
                </c:pt>
                <c:pt idx="470">
                  <c:v>0.97253986102070433</c:v>
                </c:pt>
                <c:pt idx="471">
                  <c:v>0.99112513159124149</c:v>
                </c:pt>
                <c:pt idx="472">
                  <c:v>0.94256178874424434</c:v>
                </c:pt>
                <c:pt idx="473">
                  <c:v>0.95257938563261968</c:v>
                </c:pt>
                <c:pt idx="474">
                  <c:v>0.94534859365174495</c:v>
                </c:pt>
                <c:pt idx="475">
                  <c:v>0.96169341253560692</c:v>
                </c:pt>
                <c:pt idx="476">
                  <c:v>0.99017170814406885</c:v>
                </c:pt>
                <c:pt idx="477">
                  <c:v>0.95412094175406392</c:v>
                </c:pt>
                <c:pt idx="478">
                  <c:v>0.91704872713176511</c:v>
                </c:pt>
                <c:pt idx="479">
                  <c:v>0.90968649320008832</c:v>
                </c:pt>
                <c:pt idx="480">
                  <c:v>0.93979919369946452</c:v>
                </c:pt>
                <c:pt idx="481">
                  <c:v>0.94150718688951707</c:v>
                </c:pt>
                <c:pt idx="482">
                  <c:v>0.90039829616647449</c:v>
                </c:pt>
                <c:pt idx="483">
                  <c:v>0.88677985193631592</c:v>
                </c:pt>
                <c:pt idx="484">
                  <c:v>0.86764186654215547</c:v>
                </c:pt>
                <c:pt idx="485">
                  <c:v>0.83325764595818108</c:v>
                </c:pt>
                <c:pt idx="486">
                  <c:v>0.86067346407619216</c:v>
                </c:pt>
                <c:pt idx="487">
                  <c:v>0.90230547463285782</c:v>
                </c:pt>
                <c:pt idx="488">
                  <c:v>0.89765662051395001</c:v>
                </c:pt>
                <c:pt idx="489">
                  <c:v>0.86829323079642728</c:v>
                </c:pt>
                <c:pt idx="490">
                  <c:v>0.90312531613274971</c:v>
                </c:pt>
                <c:pt idx="491">
                  <c:v>0.89312172822102953</c:v>
                </c:pt>
                <c:pt idx="492">
                  <c:v>0.87810435079974347</c:v>
                </c:pt>
                <c:pt idx="493">
                  <c:v>0.82266402503718061</c:v>
                </c:pt>
                <c:pt idx="494">
                  <c:v>0.80948197200890437</c:v>
                </c:pt>
                <c:pt idx="495">
                  <c:v>0.85598077308820875</c:v>
                </c:pt>
                <c:pt idx="496">
                  <c:v>0.84801731638511924</c:v>
                </c:pt>
                <c:pt idx="497">
                  <c:v>0.82406276152494051</c:v>
                </c:pt>
                <c:pt idx="498">
                  <c:v>0.81052639177166386</c:v>
                </c:pt>
                <c:pt idx="499">
                  <c:v>0.84928433024031968</c:v>
                </c:pt>
                <c:pt idx="500">
                  <c:v>0.89067908054528511</c:v>
                </c:pt>
                <c:pt idx="501">
                  <c:v>0.91402499676395021</c:v>
                </c:pt>
                <c:pt idx="502">
                  <c:v>0.93634673908121058</c:v>
                </c:pt>
                <c:pt idx="503">
                  <c:v>0.93550617096177535</c:v>
                </c:pt>
                <c:pt idx="504">
                  <c:v>0.95738377786400752</c:v>
                </c:pt>
                <c:pt idx="505">
                  <c:v>0.93336119823503827</c:v>
                </c:pt>
                <c:pt idx="506">
                  <c:v>0.93336119823503827</c:v>
                </c:pt>
                <c:pt idx="507">
                  <c:v>0.93336119823503827</c:v>
                </c:pt>
                <c:pt idx="508">
                  <c:v>0.93336119823503827</c:v>
                </c:pt>
              </c:numCache>
            </c:numRef>
          </c:val>
          <c:smooth val="0"/>
          <c:extLst>
            <c:ext xmlns:c16="http://schemas.microsoft.com/office/drawing/2014/chart" uri="{C3380CC4-5D6E-409C-BE32-E72D297353CC}">
              <c16:uniqueId val="{00000006-FEDF-4824-BFB3-214DAB16BA7B}"/>
            </c:ext>
          </c:extLst>
        </c:ser>
        <c:ser>
          <c:idx val="10"/>
          <c:order val="10"/>
          <c:tx>
            <c:strRef>
              <c:f>Chart!$L$4</c:f>
              <c:strCache>
                <c:ptCount val="1"/>
                <c:pt idx="0">
                  <c:v>Oct '22</c:v>
                </c:pt>
              </c:strCache>
            </c:strRef>
          </c:tx>
          <c:spPr>
            <a:ln w="41275" cap="rnd">
              <a:solidFill>
                <a:schemeClr val="accent1"/>
              </a:solidFill>
              <a:round/>
            </a:ln>
            <a:effectLst/>
          </c:spPr>
          <c:marker>
            <c:symbol val="none"/>
          </c:marker>
          <c:cat>
            <c:numRef>
              <c:f>Chart!$A$5:$A$513</c:f>
              <c:numCache>
                <c:formatCode>General</c:formatCode>
                <c:ptCount val="50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pt idx="100">
                  <c:v>101</c:v>
                </c:pt>
                <c:pt idx="101">
                  <c:v>102</c:v>
                </c:pt>
                <c:pt idx="102">
                  <c:v>103</c:v>
                </c:pt>
                <c:pt idx="103">
                  <c:v>104</c:v>
                </c:pt>
                <c:pt idx="104">
                  <c:v>105</c:v>
                </c:pt>
                <c:pt idx="105">
                  <c:v>106</c:v>
                </c:pt>
                <c:pt idx="106">
                  <c:v>107</c:v>
                </c:pt>
                <c:pt idx="107">
                  <c:v>108</c:v>
                </c:pt>
                <c:pt idx="108">
                  <c:v>109</c:v>
                </c:pt>
                <c:pt idx="109">
                  <c:v>110</c:v>
                </c:pt>
                <c:pt idx="110">
                  <c:v>111</c:v>
                </c:pt>
                <c:pt idx="111">
                  <c:v>112</c:v>
                </c:pt>
                <c:pt idx="112">
                  <c:v>113</c:v>
                </c:pt>
                <c:pt idx="113">
                  <c:v>114</c:v>
                </c:pt>
                <c:pt idx="114">
                  <c:v>115</c:v>
                </c:pt>
                <c:pt idx="115">
                  <c:v>116</c:v>
                </c:pt>
                <c:pt idx="116">
                  <c:v>117</c:v>
                </c:pt>
                <c:pt idx="117">
                  <c:v>118</c:v>
                </c:pt>
                <c:pt idx="118">
                  <c:v>119</c:v>
                </c:pt>
                <c:pt idx="119">
                  <c:v>120</c:v>
                </c:pt>
                <c:pt idx="120">
                  <c:v>121</c:v>
                </c:pt>
                <c:pt idx="121">
                  <c:v>122</c:v>
                </c:pt>
                <c:pt idx="122">
                  <c:v>123</c:v>
                </c:pt>
                <c:pt idx="123">
                  <c:v>124</c:v>
                </c:pt>
                <c:pt idx="124">
                  <c:v>125</c:v>
                </c:pt>
                <c:pt idx="125">
                  <c:v>126</c:v>
                </c:pt>
                <c:pt idx="126">
                  <c:v>127</c:v>
                </c:pt>
                <c:pt idx="127">
                  <c:v>128</c:v>
                </c:pt>
                <c:pt idx="128">
                  <c:v>129</c:v>
                </c:pt>
                <c:pt idx="129">
                  <c:v>130</c:v>
                </c:pt>
                <c:pt idx="130">
                  <c:v>131</c:v>
                </c:pt>
                <c:pt idx="131">
                  <c:v>132</c:v>
                </c:pt>
                <c:pt idx="132">
                  <c:v>133</c:v>
                </c:pt>
                <c:pt idx="133">
                  <c:v>134</c:v>
                </c:pt>
                <c:pt idx="134">
                  <c:v>135</c:v>
                </c:pt>
                <c:pt idx="135">
                  <c:v>136</c:v>
                </c:pt>
                <c:pt idx="136">
                  <c:v>137</c:v>
                </c:pt>
                <c:pt idx="137">
                  <c:v>138</c:v>
                </c:pt>
                <c:pt idx="138">
                  <c:v>139</c:v>
                </c:pt>
                <c:pt idx="139">
                  <c:v>140</c:v>
                </c:pt>
                <c:pt idx="140">
                  <c:v>141</c:v>
                </c:pt>
                <c:pt idx="141">
                  <c:v>142</c:v>
                </c:pt>
                <c:pt idx="142">
                  <c:v>143</c:v>
                </c:pt>
                <c:pt idx="143">
                  <c:v>144</c:v>
                </c:pt>
                <c:pt idx="144">
                  <c:v>145</c:v>
                </c:pt>
                <c:pt idx="145">
                  <c:v>146</c:v>
                </c:pt>
                <c:pt idx="146">
                  <c:v>147</c:v>
                </c:pt>
                <c:pt idx="147">
                  <c:v>148</c:v>
                </c:pt>
                <c:pt idx="148">
                  <c:v>149</c:v>
                </c:pt>
                <c:pt idx="149">
                  <c:v>150</c:v>
                </c:pt>
                <c:pt idx="150">
                  <c:v>151</c:v>
                </c:pt>
                <c:pt idx="151">
                  <c:v>152</c:v>
                </c:pt>
                <c:pt idx="152">
                  <c:v>153</c:v>
                </c:pt>
                <c:pt idx="153">
                  <c:v>154</c:v>
                </c:pt>
                <c:pt idx="154">
                  <c:v>155</c:v>
                </c:pt>
                <c:pt idx="155">
                  <c:v>156</c:v>
                </c:pt>
                <c:pt idx="156">
                  <c:v>157</c:v>
                </c:pt>
                <c:pt idx="157">
                  <c:v>158</c:v>
                </c:pt>
                <c:pt idx="158">
                  <c:v>159</c:v>
                </c:pt>
                <c:pt idx="159">
                  <c:v>160</c:v>
                </c:pt>
                <c:pt idx="160">
                  <c:v>161</c:v>
                </c:pt>
                <c:pt idx="161">
                  <c:v>162</c:v>
                </c:pt>
                <c:pt idx="162">
                  <c:v>163</c:v>
                </c:pt>
                <c:pt idx="163">
                  <c:v>164</c:v>
                </c:pt>
                <c:pt idx="164">
                  <c:v>165</c:v>
                </c:pt>
                <c:pt idx="165">
                  <c:v>166</c:v>
                </c:pt>
                <c:pt idx="166">
                  <c:v>167</c:v>
                </c:pt>
                <c:pt idx="167">
                  <c:v>168</c:v>
                </c:pt>
                <c:pt idx="168">
                  <c:v>169</c:v>
                </c:pt>
                <c:pt idx="169">
                  <c:v>170</c:v>
                </c:pt>
                <c:pt idx="170">
                  <c:v>171</c:v>
                </c:pt>
                <c:pt idx="171">
                  <c:v>172</c:v>
                </c:pt>
                <c:pt idx="172">
                  <c:v>173</c:v>
                </c:pt>
                <c:pt idx="173">
                  <c:v>174</c:v>
                </c:pt>
                <c:pt idx="174">
                  <c:v>175</c:v>
                </c:pt>
                <c:pt idx="175">
                  <c:v>176</c:v>
                </c:pt>
                <c:pt idx="176">
                  <c:v>177</c:v>
                </c:pt>
                <c:pt idx="177">
                  <c:v>178</c:v>
                </c:pt>
                <c:pt idx="178">
                  <c:v>179</c:v>
                </c:pt>
                <c:pt idx="179">
                  <c:v>180</c:v>
                </c:pt>
                <c:pt idx="180">
                  <c:v>181</c:v>
                </c:pt>
                <c:pt idx="181">
                  <c:v>182</c:v>
                </c:pt>
                <c:pt idx="182">
                  <c:v>183</c:v>
                </c:pt>
                <c:pt idx="183">
                  <c:v>184</c:v>
                </c:pt>
                <c:pt idx="184">
                  <c:v>185</c:v>
                </c:pt>
                <c:pt idx="185">
                  <c:v>186</c:v>
                </c:pt>
                <c:pt idx="186">
                  <c:v>187</c:v>
                </c:pt>
                <c:pt idx="187">
                  <c:v>188</c:v>
                </c:pt>
                <c:pt idx="188">
                  <c:v>189</c:v>
                </c:pt>
                <c:pt idx="189">
                  <c:v>190</c:v>
                </c:pt>
                <c:pt idx="190">
                  <c:v>191</c:v>
                </c:pt>
                <c:pt idx="191">
                  <c:v>192</c:v>
                </c:pt>
                <c:pt idx="192">
                  <c:v>193</c:v>
                </c:pt>
                <c:pt idx="193">
                  <c:v>194</c:v>
                </c:pt>
                <c:pt idx="194">
                  <c:v>195</c:v>
                </c:pt>
                <c:pt idx="195">
                  <c:v>196</c:v>
                </c:pt>
                <c:pt idx="196">
                  <c:v>197</c:v>
                </c:pt>
                <c:pt idx="197">
                  <c:v>198</c:v>
                </c:pt>
                <c:pt idx="198">
                  <c:v>199</c:v>
                </c:pt>
                <c:pt idx="199">
                  <c:v>200</c:v>
                </c:pt>
                <c:pt idx="200">
                  <c:v>201</c:v>
                </c:pt>
                <c:pt idx="201">
                  <c:v>202</c:v>
                </c:pt>
                <c:pt idx="202">
                  <c:v>203</c:v>
                </c:pt>
                <c:pt idx="203">
                  <c:v>204</c:v>
                </c:pt>
                <c:pt idx="204">
                  <c:v>205</c:v>
                </c:pt>
                <c:pt idx="205">
                  <c:v>206</c:v>
                </c:pt>
                <c:pt idx="206">
                  <c:v>207</c:v>
                </c:pt>
                <c:pt idx="207">
                  <c:v>208</c:v>
                </c:pt>
                <c:pt idx="208">
                  <c:v>209</c:v>
                </c:pt>
                <c:pt idx="209">
                  <c:v>210</c:v>
                </c:pt>
                <c:pt idx="210">
                  <c:v>211</c:v>
                </c:pt>
                <c:pt idx="211">
                  <c:v>212</c:v>
                </c:pt>
                <c:pt idx="212">
                  <c:v>213</c:v>
                </c:pt>
                <c:pt idx="213">
                  <c:v>214</c:v>
                </c:pt>
                <c:pt idx="214">
                  <c:v>215</c:v>
                </c:pt>
                <c:pt idx="215">
                  <c:v>216</c:v>
                </c:pt>
                <c:pt idx="216">
                  <c:v>217</c:v>
                </c:pt>
                <c:pt idx="217">
                  <c:v>218</c:v>
                </c:pt>
                <c:pt idx="218">
                  <c:v>219</c:v>
                </c:pt>
                <c:pt idx="219">
                  <c:v>220</c:v>
                </c:pt>
                <c:pt idx="220">
                  <c:v>221</c:v>
                </c:pt>
                <c:pt idx="221">
                  <c:v>222</c:v>
                </c:pt>
                <c:pt idx="222">
                  <c:v>223</c:v>
                </c:pt>
                <c:pt idx="223">
                  <c:v>224</c:v>
                </c:pt>
                <c:pt idx="224">
                  <c:v>225</c:v>
                </c:pt>
                <c:pt idx="225">
                  <c:v>226</c:v>
                </c:pt>
                <c:pt idx="226">
                  <c:v>227</c:v>
                </c:pt>
                <c:pt idx="227">
                  <c:v>228</c:v>
                </c:pt>
                <c:pt idx="228">
                  <c:v>229</c:v>
                </c:pt>
                <c:pt idx="229">
                  <c:v>230</c:v>
                </c:pt>
                <c:pt idx="230">
                  <c:v>231</c:v>
                </c:pt>
                <c:pt idx="231">
                  <c:v>232</c:v>
                </c:pt>
                <c:pt idx="232">
                  <c:v>233</c:v>
                </c:pt>
                <c:pt idx="233">
                  <c:v>234</c:v>
                </c:pt>
                <c:pt idx="234">
                  <c:v>235</c:v>
                </c:pt>
                <c:pt idx="235">
                  <c:v>236</c:v>
                </c:pt>
                <c:pt idx="236">
                  <c:v>237</c:v>
                </c:pt>
                <c:pt idx="237">
                  <c:v>238</c:v>
                </c:pt>
                <c:pt idx="238">
                  <c:v>239</c:v>
                </c:pt>
                <c:pt idx="239">
                  <c:v>240</c:v>
                </c:pt>
                <c:pt idx="240">
                  <c:v>241</c:v>
                </c:pt>
                <c:pt idx="241">
                  <c:v>242</c:v>
                </c:pt>
                <c:pt idx="242">
                  <c:v>243</c:v>
                </c:pt>
                <c:pt idx="243">
                  <c:v>244</c:v>
                </c:pt>
                <c:pt idx="244">
                  <c:v>245</c:v>
                </c:pt>
                <c:pt idx="245">
                  <c:v>246</c:v>
                </c:pt>
                <c:pt idx="246">
                  <c:v>247</c:v>
                </c:pt>
                <c:pt idx="247">
                  <c:v>248</c:v>
                </c:pt>
                <c:pt idx="248">
                  <c:v>249</c:v>
                </c:pt>
                <c:pt idx="249">
                  <c:v>250</c:v>
                </c:pt>
                <c:pt idx="250">
                  <c:v>251</c:v>
                </c:pt>
                <c:pt idx="251">
                  <c:v>252</c:v>
                </c:pt>
                <c:pt idx="252">
                  <c:v>253</c:v>
                </c:pt>
                <c:pt idx="253">
                  <c:v>254</c:v>
                </c:pt>
                <c:pt idx="254">
                  <c:v>255</c:v>
                </c:pt>
                <c:pt idx="255">
                  <c:v>256</c:v>
                </c:pt>
                <c:pt idx="256">
                  <c:v>257</c:v>
                </c:pt>
                <c:pt idx="257">
                  <c:v>258</c:v>
                </c:pt>
                <c:pt idx="258">
                  <c:v>259</c:v>
                </c:pt>
                <c:pt idx="259">
                  <c:v>260</c:v>
                </c:pt>
                <c:pt idx="260">
                  <c:v>261</c:v>
                </c:pt>
                <c:pt idx="261">
                  <c:v>262</c:v>
                </c:pt>
                <c:pt idx="262">
                  <c:v>263</c:v>
                </c:pt>
                <c:pt idx="263">
                  <c:v>264</c:v>
                </c:pt>
                <c:pt idx="264">
                  <c:v>265</c:v>
                </c:pt>
                <c:pt idx="265">
                  <c:v>266</c:v>
                </c:pt>
                <c:pt idx="266">
                  <c:v>267</c:v>
                </c:pt>
                <c:pt idx="267">
                  <c:v>268</c:v>
                </c:pt>
                <c:pt idx="268">
                  <c:v>269</c:v>
                </c:pt>
                <c:pt idx="269">
                  <c:v>270</c:v>
                </c:pt>
                <c:pt idx="270">
                  <c:v>271</c:v>
                </c:pt>
                <c:pt idx="271">
                  <c:v>272</c:v>
                </c:pt>
                <c:pt idx="272">
                  <c:v>273</c:v>
                </c:pt>
                <c:pt idx="273">
                  <c:v>274</c:v>
                </c:pt>
                <c:pt idx="274">
                  <c:v>275</c:v>
                </c:pt>
                <c:pt idx="275">
                  <c:v>276</c:v>
                </c:pt>
                <c:pt idx="276">
                  <c:v>277</c:v>
                </c:pt>
                <c:pt idx="277">
                  <c:v>278</c:v>
                </c:pt>
                <c:pt idx="278">
                  <c:v>279</c:v>
                </c:pt>
                <c:pt idx="279">
                  <c:v>280</c:v>
                </c:pt>
                <c:pt idx="280">
                  <c:v>281</c:v>
                </c:pt>
                <c:pt idx="281">
                  <c:v>282</c:v>
                </c:pt>
                <c:pt idx="282">
                  <c:v>283</c:v>
                </c:pt>
                <c:pt idx="283">
                  <c:v>284</c:v>
                </c:pt>
                <c:pt idx="284">
                  <c:v>285</c:v>
                </c:pt>
                <c:pt idx="285">
                  <c:v>286</c:v>
                </c:pt>
                <c:pt idx="286">
                  <c:v>287</c:v>
                </c:pt>
                <c:pt idx="287">
                  <c:v>288</c:v>
                </c:pt>
                <c:pt idx="288">
                  <c:v>289</c:v>
                </c:pt>
                <c:pt idx="289">
                  <c:v>290</c:v>
                </c:pt>
                <c:pt idx="290">
                  <c:v>291</c:v>
                </c:pt>
                <c:pt idx="291">
                  <c:v>292</c:v>
                </c:pt>
                <c:pt idx="292">
                  <c:v>293</c:v>
                </c:pt>
                <c:pt idx="293">
                  <c:v>294</c:v>
                </c:pt>
                <c:pt idx="294">
                  <c:v>295</c:v>
                </c:pt>
                <c:pt idx="295">
                  <c:v>296</c:v>
                </c:pt>
                <c:pt idx="296">
                  <c:v>297</c:v>
                </c:pt>
                <c:pt idx="297">
                  <c:v>298</c:v>
                </c:pt>
                <c:pt idx="298">
                  <c:v>299</c:v>
                </c:pt>
                <c:pt idx="299">
                  <c:v>300</c:v>
                </c:pt>
                <c:pt idx="300">
                  <c:v>301</c:v>
                </c:pt>
                <c:pt idx="301">
                  <c:v>302</c:v>
                </c:pt>
                <c:pt idx="302">
                  <c:v>303</c:v>
                </c:pt>
                <c:pt idx="303">
                  <c:v>304</c:v>
                </c:pt>
                <c:pt idx="304">
                  <c:v>305</c:v>
                </c:pt>
                <c:pt idx="305">
                  <c:v>306</c:v>
                </c:pt>
                <c:pt idx="306">
                  <c:v>307</c:v>
                </c:pt>
                <c:pt idx="307">
                  <c:v>308</c:v>
                </c:pt>
                <c:pt idx="308">
                  <c:v>309</c:v>
                </c:pt>
                <c:pt idx="309">
                  <c:v>310</c:v>
                </c:pt>
                <c:pt idx="310">
                  <c:v>311</c:v>
                </c:pt>
                <c:pt idx="311">
                  <c:v>312</c:v>
                </c:pt>
                <c:pt idx="312">
                  <c:v>313</c:v>
                </c:pt>
                <c:pt idx="313">
                  <c:v>314</c:v>
                </c:pt>
                <c:pt idx="314">
                  <c:v>315</c:v>
                </c:pt>
                <c:pt idx="315">
                  <c:v>316</c:v>
                </c:pt>
                <c:pt idx="316">
                  <c:v>317</c:v>
                </c:pt>
                <c:pt idx="317">
                  <c:v>318</c:v>
                </c:pt>
                <c:pt idx="318">
                  <c:v>319</c:v>
                </c:pt>
                <c:pt idx="319">
                  <c:v>320</c:v>
                </c:pt>
                <c:pt idx="320">
                  <c:v>321</c:v>
                </c:pt>
                <c:pt idx="321">
                  <c:v>322</c:v>
                </c:pt>
                <c:pt idx="322">
                  <c:v>323</c:v>
                </c:pt>
                <c:pt idx="323">
                  <c:v>324</c:v>
                </c:pt>
                <c:pt idx="324">
                  <c:v>325</c:v>
                </c:pt>
                <c:pt idx="325">
                  <c:v>326</c:v>
                </c:pt>
                <c:pt idx="326">
                  <c:v>327</c:v>
                </c:pt>
                <c:pt idx="327">
                  <c:v>328</c:v>
                </c:pt>
                <c:pt idx="328">
                  <c:v>329</c:v>
                </c:pt>
                <c:pt idx="329">
                  <c:v>330</c:v>
                </c:pt>
                <c:pt idx="330">
                  <c:v>331</c:v>
                </c:pt>
                <c:pt idx="331">
                  <c:v>332</c:v>
                </c:pt>
                <c:pt idx="332">
                  <c:v>333</c:v>
                </c:pt>
                <c:pt idx="333">
                  <c:v>334</c:v>
                </c:pt>
                <c:pt idx="334">
                  <c:v>335</c:v>
                </c:pt>
                <c:pt idx="335">
                  <c:v>336</c:v>
                </c:pt>
                <c:pt idx="336">
                  <c:v>337</c:v>
                </c:pt>
                <c:pt idx="337">
                  <c:v>338</c:v>
                </c:pt>
                <c:pt idx="338">
                  <c:v>339</c:v>
                </c:pt>
                <c:pt idx="339">
                  <c:v>340</c:v>
                </c:pt>
                <c:pt idx="340">
                  <c:v>341</c:v>
                </c:pt>
                <c:pt idx="341">
                  <c:v>342</c:v>
                </c:pt>
                <c:pt idx="342">
                  <c:v>343</c:v>
                </c:pt>
                <c:pt idx="343">
                  <c:v>344</c:v>
                </c:pt>
                <c:pt idx="344">
                  <c:v>345</c:v>
                </c:pt>
                <c:pt idx="345">
                  <c:v>346</c:v>
                </c:pt>
                <c:pt idx="346">
                  <c:v>347</c:v>
                </c:pt>
                <c:pt idx="347">
                  <c:v>348</c:v>
                </c:pt>
                <c:pt idx="348">
                  <c:v>349</c:v>
                </c:pt>
                <c:pt idx="349">
                  <c:v>350</c:v>
                </c:pt>
                <c:pt idx="350">
                  <c:v>351</c:v>
                </c:pt>
                <c:pt idx="351">
                  <c:v>352</c:v>
                </c:pt>
                <c:pt idx="352">
                  <c:v>353</c:v>
                </c:pt>
                <c:pt idx="353">
                  <c:v>354</c:v>
                </c:pt>
                <c:pt idx="354">
                  <c:v>355</c:v>
                </c:pt>
                <c:pt idx="355">
                  <c:v>356</c:v>
                </c:pt>
                <c:pt idx="356">
                  <c:v>357</c:v>
                </c:pt>
                <c:pt idx="357">
                  <c:v>358</c:v>
                </c:pt>
                <c:pt idx="358">
                  <c:v>359</c:v>
                </c:pt>
                <c:pt idx="359">
                  <c:v>360</c:v>
                </c:pt>
                <c:pt idx="360">
                  <c:v>361</c:v>
                </c:pt>
                <c:pt idx="361">
                  <c:v>362</c:v>
                </c:pt>
                <c:pt idx="362">
                  <c:v>363</c:v>
                </c:pt>
                <c:pt idx="363">
                  <c:v>364</c:v>
                </c:pt>
                <c:pt idx="364">
                  <c:v>365</c:v>
                </c:pt>
                <c:pt idx="365">
                  <c:v>366</c:v>
                </c:pt>
                <c:pt idx="366">
                  <c:v>367</c:v>
                </c:pt>
                <c:pt idx="367">
                  <c:v>368</c:v>
                </c:pt>
                <c:pt idx="368">
                  <c:v>369</c:v>
                </c:pt>
                <c:pt idx="369">
                  <c:v>370</c:v>
                </c:pt>
                <c:pt idx="370">
                  <c:v>371</c:v>
                </c:pt>
                <c:pt idx="371">
                  <c:v>372</c:v>
                </c:pt>
                <c:pt idx="372">
                  <c:v>373</c:v>
                </c:pt>
                <c:pt idx="373">
                  <c:v>374</c:v>
                </c:pt>
                <c:pt idx="374">
                  <c:v>375</c:v>
                </c:pt>
                <c:pt idx="375">
                  <c:v>376</c:v>
                </c:pt>
                <c:pt idx="376">
                  <c:v>377</c:v>
                </c:pt>
                <c:pt idx="377">
                  <c:v>378</c:v>
                </c:pt>
                <c:pt idx="378">
                  <c:v>379</c:v>
                </c:pt>
                <c:pt idx="379">
                  <c:v>380</c:v>
                </c:pt>
                <c:pt idx="380">
                  <c:v>381</c:v>
                </c:pt>
                <c:pt idx="381">
                  <c:v>382</c:v>
                </c:pt>
                <c:pt idx="382">
                  <c:v>383</c:v>
                </c:pt>
                <c:pt idx="383">
                  <c:v>384</c:v>
                </c:pt>
                <c:pt idx="384">
                  <c:v>385</c:v>
                </c:pt>
                <c:pt idx="385">
                  <c:v>386</c:v>
                </c:pt>
                <c:pt idx="386">
                  <c:v>387</c:v>
                </c:pt>
                <c:pt idx="387">
                  <c:v>388</c:v>
                </c:pt>
                <c:pt idx="388">
                  <c:v>389</c:v>
                </c:pt>
                <c:pt idx="389">
                  <c:v>390</c:v>
                </c:pt>
                <c:pt idx="390">
                  <c:v>391</c:v>
                </c:pt>
                <c:pt idx="391">
                  <c:v>392</c:v>
                </c:pt>
                <c:pt idx="392">
                  <c:v>393</c:v>
                </c:pt>
                <c:pt idx="393">
                  <c:v>394</c:v>
                </c:pt>
                <c:pt idx="394">
                  <c:v>395</c:v>
                </c:pt>
                <c:pt idx="395">
                  <c:v>396</c:v>
                </c:pt>
                <c:pt idx="396">
                  <c:v>397</c:v>
                </c:pt>
                <c:pt idx="397">
                  <c:v>398</c:v>
                </c:pt>
                <c:pt idx="398">
                  <c:v>399</c:v>
                </c:pt>
                <c:pt idx="399">
                  <c:v>400</c:v>
                </c:pt>
                <c:pt idx="400">
                  <c:v>401</c:v>
                </c:pt>
                <c:pt idx="401">
                  <c:v>402</c:v>
                </c:pt>
                <c:pt idx="402">
                  <c:v>403</c:v>
                </c:pt>
                <c:pt idx="403">
                  <c:v>404</c:v>
                </c:pt>
                <c:pt idx="404">
                  <c:v>405</c:v>
                </c:pt>
                <c:pt idx="405">
                  <c:v>406</c:v>
                </c:pt>
                <c:pt idx="406">
                  <c:v>407</c:v>
                </c:pt>
                <c:pt idx="407">
                  <c:v>408</c:v>
                </c:pt>
                <c:pt idx="408">
                  <c:v>409</c:v>
                </c:pt>
                <c:pt idx="409">
                  <c:v>410</c:v>
                </c:pt>
                <c:pt idx="410">
                  <c:v>411</c:v>
                </c:pt>
                <c:pt idx="411">
                  <c:v>412</c:v>
                </c:pt>
                <c:pt idx="412">
                  <c:v>413</c:v>
                </c:pt>
                <c:pt idx="413">
                  <c:v>414</c:v>
                </c:pt>
                <c:pt idx="414">
                  <c:v>415</c:v>
                </c:pt>
                <c:pt idx="415">
                  <c:v>416</c:v>
                </c:pt>
                <c:pt idx="416">
                  <c:v>417</c:v>
                </c:pt>
                <c:pt idx="417">
                  <c:v>418</c:v>
                </c:pt>
                <c:pt idx="418">
                  <c:v>419</c:v>
                </c:pt>
                <c:pt idx="419">
                  <c:v>420</c:v>
                </c:pt>
                <c:pt idx="420">
                  <c:v>421</c:v>
                </c:pt>
                <c:pt idx="421">
                  <c:v>422</c:v>
                </c:pt>
                <c:pt idx="422">
                  <c:v>423</c:v>
                </c:pt>
                <c:pt idx="423">
                  <c:v>424</c:v>
                </c:pt>
                <c:pt idx="424">
                  <c:v>425</c:v>
                </c:pt>
                <c:pt idx="425">
                  <c:v>426</c:v>
                </c:pt>
                <c:pt idx="426">
                  <c:v>427</c:v>
                </c:pt>
                <c:pt idx="427">
                  <c:v>428</c:v>
                </c:pt>
                <c:pt idx="428">
                  <c:v>429</c:v>
                </c:pt>
                <c:pt idx="429">
                  <c:v>430</c:v>
                </c:pt>
                <c:pt idx="430">
                  <c:v>431</c:v>
                </c:pt>
                <c:pt idx="431">
                  <c:v>432</c:v>
                </c:pt>
                <c:pt idx="432">
                  <c:v>433</c:v>
                </c:pt>
                <c:pt idx="433">
                  <c:v>434</c:v>
                </c:pt>
                <c:pt idx="434">
                  <c:v>435</c:v>
                </c:pt>
                <c:pt idx="435">
                  <c:v>436</c:v>
                </c:pt>
                <c:pt idx="436">
                  <c:v>437</c:v>
                </c:pt>
                <c:pt idx="437">
                  <c:v>438</c:v>
                </c:pt>
                <c:pt idx="438">
                  <c:v>439</c:v>
                </c:pt>
                <c:pt idx="439">
                  <c:v>440</c:v>
                </c:pt>
                <c:pt idx="440">
                  <c:v>441</c:v>
                </c:pt>
                <c:pt idx="441">
                  <c:v>442</c:v>
                </c:pt>
                <c:pt idx="442">
                  <c:v>443</c:v>
                </c:pt>
                <c:pt idx="443">
                  <c:v>444</c:v>
                </c:pt>
                <c:pt idx="444">
                  <c:v>445</c:v>
                </c:pt>
                <c:pt idx="445">
                  <c:v>446</c:v>
                </c:pt>
                <c:pt idx="446">
                  <c:v>447</c:v>
                </c:pt>
                <c:pt idx="447">
                  <c:v>448</c:v>
                </c:pt>
                <c:pt idx="448">
                  <c:v>449</c:v>
                </c:pt>
                <c:pt idx="449">
                  <c:v>450</c:v>
                </c:pt>
                <c:pt idx="450">
                  <c:v>451</c:v>
                </c:pt>
                <c:pt idx="451">
                  <c:v>452</c:v>
                </c:pt>
                <c:pt idx="452">
                  <c:v>453</c:v>
                </c:pt>
                <c:pt idx="453">
                  <c:v>454</c:v>
                </c:pt>
                <c:pt idx="454">
                  <c:v>455</c:v>
                </c:pt>
                <c:pt idx="455">
                  <c:v>456</c:v>
                </c:pt>
                <c:pt idx="456">
                  <c:v>457</c:v>
                </c:pt>
                <c:pt idx="457">
                  <c:v>458</c:v>
                </c:pt>
                <c:pt idx="458">
                  <c:v>459</c:v>
                </c:pt>
                <c:pt idx="459">
                  <c:v>460</c:v>
                </c:pt>
                <c:pt idx="460">
                  <c:v>461</c:v>
                </c:pt>
                <c:pt idx="461">
                  <c:v>462</c:v>
                </c:pt>
                <c:pt idx="462">
                  <c:v>463</c:v>
                </c:pt>
                <c:pt idx="463">
                  <c:v>464</c:v>
                </c:pt>
                <c:pt idx="464">
                  <c:v>465</c:v>
                </c:pt>
                <c:pt idx="465">
                  <c:v>466</c:v>
                </c:pt>
                <c:pt idx="466">
                  <c:v>467</c:v>
                </c:pt>
                <c:pt idx="467">
                  <c:v>468</c:v>
                </c:pt>
                <c:pt idx="468">
                  <c:v>469</c:v>
                </c:pt>
                <c:pt idx="469">
                  <c:v>470</c:v>
                </c:pt>
                <c:pt idx="470">
                  <c:v>471</c:v>
                </c:pt>
                <c:pt idx="471">
                  <c:v>472</c:v>
                </c:pt>
                <c:pt idx="472">
                  <c:v>473</c:v>
                </c:pt>
                <c:pt idx="473">
                  <c:v>474</c:v>
                </c:pt>
                <c:pt idx="474">
                  <c:v>475</c:v>
                </c:pt>
                <c:pt idx="475">
                  <c:v>476</c:v>
                </c:pt>
                <c:pt idx="476">
                  <c:v>477</c:v>
                </c:pt>
                <c:pt idx="477">
                  <c:v>478</c:v>
                </c:pt>
                <c:pt idx="478">
                  <c:v>479</c:v>
                </c:pt>
                <c:pt idx="479">
                  <c:v>480</c:v>
                </c:pt>
                <c:pt idx="480">
                  <c:v>481</c:v>
                </c:pt>
                <c:pt idx="481">
                  <c:v>482</c:v>
                </c:pt>
                <c:pt idx="482">
                  <c:v>483</c:v>
                </c:pt>
                <c:pt idx="483">
                  <c:v>484</c:v>
                </c:pt>
                <c:pt idx="484">
                  <c:v>485</c:v>
                </c:pt>
                <c:pt idx="485">
                  <c:v>486</c:v>
                </c:pt>
                <c:pt idx="486">
                  <c:v>487</c:v>
                </c:pt>
                <c:pt idx="487">
                  <c:v>488</c:v>
                </c:pt>
                <c:pt idx="488">
                  <c:v>489</c:v>
                </c:pt>
                <c:pt idx="489">
                  <c:v>490</c:v>
                </c:pt>
                <c:pt idx="490">
                  <c:v>491</c:v>
                </c:pt>
                <c:pt idx="491">
                  <c:v>492</c:v>
                </c:pt>
                <c:pt idx="492">
                  <c:v>493</c:v>
                </c:pt>
                <c:pt idx="493">
                  <c:v>494</c:v>
                </c:pt>
                <c:pt idx="494">
                  <c:v>495</c:v>
                </c:pt>
                <c:pt idx="495">
                  <c:v>496</c:v>
                </c:pt>
                <c:pt idx="496">
                  <c:v>497</c:v>
                </c:pt>
                <c:pt idx="497">
                  <c:v>498</c:v>
                </c:pt>
                <c:pt idx="498">
                  <c:v>499</c:v>
                </c:pt>
                <c:pt idx="499">
                  <c:v>500</c:v>
                </c:pt>
                <c:pt idx="500">
                  <c:v>501</c:v>
                </c:pt>
                <c:pt idx="501">
                  <c:v>502</c:v>
                </c:pt>
                <c:pt idx="502">
                  <c:v>503</c:v>
                </c:pt>
                <c:pt idx="503">
                  <c:v>504</c:v>
                </c:pt>
                <c:pt idx="504">
                  <c:v>505</c:v>
                </c:pt>
                <c:pt idx="505">
                  <c:v>506</c:v>
                </c:pt>
                <c:pt idx="506">
                  <c:v>507</c:v>
                </c:pt>
                <c:pt idx="507">
                  <c:v>508</c:v>
                </c:pt>
                <c:pt idx="508">
                  <c:v>509</c:v>
                </c:pt>
              </c:numCache>
            </c:numRef>
          </c:cat>
          <c:val>
            <c:numRef>
              <c:f>Chart!$L$5:$L$513</c:f>
              <c:numCache>
                <c:formatCode>0%</c:formatCode>
                <c:ptCount val="509"/>
                <c:pt idx="0">
                  <c:v>-3.2908E-3</c:v>
                </c:pt>
                <c:pt idx="1">
                  <c:v>2.2587757668800057E-2</c:v>
                </c:pt>
                <c:pt idx="2">
                  <c:v>-1.608509335607522E-3</c:v>
                </c:pt>
                <c:pt idx="3">
                  <c:v>2.4830295085272569E-2</c:v>
                </c:pt>
                <c:pt idx="4">
                  <c:v>3.6541338316300465E-2</c:v>
                </c:pt>
                <c:pt idx="5">
                  <c:v>2.9623357770243608E-2</c:v>
                </c:pt>
                <c:pt idx="6">
                  <c:v>2.1438263925313228E-2</c:v>
                </c:pt>
                <c:pt idx="7">
                  <c:v>4.5671069586330049E-2</c:v>
                </c:pt>
                <c:pt idx="8">
                  <c:v>5.8095628668048072E-2</c:v>
                </c:pt>
                <c:pt idx="9">
                  <c:v>7.5308939974345623E-2</c:v>
                </c:pt>
                <c:pt idx="10">
                  <c:v>6.7362729500617169E-2</c:v>
                </c:pt>
                <c:pt idx="11">
                  <c:v>6.0871029379794273E-2</c:v>
                </c:pt>
                <c:pt idx="12">
                  <c:v>8.6998055004256836E-2</c:v>
                </c:pt>
                <c:pt idx="13">
                  <c:v>7.8893288806339612E-2</c:v>
                </c:pt>
                <c:pt idx="14">
                  <c:v>7.4469718432904619E-2</c:v>
                </c:pt>
                <c:pt idx="15">
                  <c:v>4.7605504191729597E-2</c:v>
                </c:pt>
                <c:pt idx="16">
                  <c:v>3.6516390408759314E-2</c:v>
                </c:pt>
                <c:pt idx="17">
                  <c:v>5.0630426793677463E-2</c:v>
                </c:pt>
                <c:pt idx="18">
                  <c:v>6.0733604166853583E-2</c:v>
                </c:pt>
                <c:pt idx="19">
                  <c:v>6.6669575489131772E-2</c:v>
                </c:pt>
                <c:pt idx="20">
                  <c:v>4.4507701720066795E-2</c:v>
                </c:pt>
                <c:pt idx="21">
                  <c:v>0.10240873275567663</c:v>
                </c:pt>
                <c:pt idx="22">
                  <c:v>0.11259520992808558</c:v>
                </c:pt>
                <c:pt idx="23">
                  <c:v>0.10265472802498321</c:v>
                </c:pt>
                <c:pt idx="24">
                  <c:v>0.11226237920121052</c:v>
                </c:pt>
                <c:pt idx="25">
                  <c:v>0.10308399004804203</c:v>
                </c:pt>
                <c:pt idx="26">
                  <c:v>9.9674688360000596E-2</c:v>
                </c:pt>
                <c:pt idx="27">
                  <c:v>0.1049079302344369</c:v>
                </c:pt>
                <c:pt idx="28">
                  <c:v>0.10061624685182036</c:v>
                </c:pt>
                <c:pt idx="29">
                  <c:v>0.11556294566894221</c:v>
                </c:pt>
                <c:pt idx="30">
                  <c:v>0.12216216983034145</c:v>
                </c:pt>
                <c:pt idx="31">
                  <c:v>0.12184269026059069</c:v>
                </c:pt>
                <c:pt idx="32">
                  <c:v>0.10451852233197245</c:v>
                </c:pt>
                <c:pt idx="33">
                  <c:v>0.10275858251848868</c:v>
                </c:pt>
                <c:pt idx="34">
                  <c:v>0.13688675513027082</c:v>
                </c:pt>
                <c:pt idx="35">
                  <c:v>0.13590039218151984</c:v>
                </c:pt>
                <c:pt idx="36">
                  <c:v>0.13454435429333356</c:v>
                </c:pt>
                <c:pt idx="37">
                  <c:v>0.11424259070873788</c:v>
                </c:pt>
                <c:pt idx="38">
                  <c:v>9.8198388796604696E-2</c:v>
                </c:pt>
                <c:pt idx="39">
                  <c:v>9.6154202315698711E-2</c:v>
                </c:pt>
                <c:pt idx="40">
                  <c:v>0.1043985973021555</c:v>
                </c:pt>
                <c:pt idx="41">
                  <c:v>9.6280273653247095E-2</c:v>
                </c:pt>
                <c:pt idx="42">
                  <c:v>0.11193460782087872</c:v>
                </c:pt>
                <c:pt idx="43">
                  <c:v>0.12004216782034383</c:v>
                </c:pt>
                <c:pt idx="44">
                  <c:v>0.11326120852792587</c:v>
                </c:pt>
                <c:pt idx="45">
                  <c:v>8.551818258080579E-2</c:v>
                </c:pt>
                <c:pt idx="46">
                  <c:v>7.3428006718675443E-2</c:v>
                </c:pt>
                <c:pt idx="47">
                  <c:v>6.3757601148947574E-2</c:v>
                </c:pt>
                <c:pt idx="48">
                  <c:v>6.4861356035899709E-2</c:v>
                </c:pt>
                <c:pt idx="49">
                  <c:v>8.0693927649712727E-2</c:v>
                </c:pt>
                <c:pt idx="50">
                  <c:v>6.5075198660355271E-2</c:v>
                </c:pt>
                <c:pt idx="51">
                  <c:v>7.1324633896014733E-2</c:v>
                </c:pt>
                <c:pt idx="52">
                  <c:v>6.6987376115686725E-2</c:v>
                </c:pt>
                <c:pt idx="53">
                  <c:v>5.4162294553513846E-2</c:v>
                </c:pt>
                <c:pt idx="54">
                  <c:v>7.2569760292318763E-2</c:v>
                </c:pt>
                <c:pt idx="55">
                  <c:v>6.984275167677545E-2</c:v>
                </c:pt>
                <c:pt idx="56">
                  <c:v>6.5563273685793177E-2</c:v>
                </c:pt>
                <c:pt idx="57">
                  <c:v>7.359580931181875E-2</c:v>
                </c:pt>
                <c:pt idx="58">
                  <c:v>6.1095181786934738E-2</c:v>
                </c:pt>
                <c:pt idx="59">
                  <c:v>8.5329322424730014E-2</c:v>
                </c:pt>
                <c:pt idx="60">
                  <c:v>8.4497743097888156E-2</c:v>
                </c:pt>
                <c:pt idx="61">
                  <c:v>9.2066344397194078E-2</c:v>
                </c:pt>
                <c:pt idx="62">
                  <c:v>0.10609896009616038</c:v>
                </c:pt>
                <c:pt idx="63">
                  <c:v>0.10987518194592871</c:v>
                </c:pt>
                <c:pt idx="64">
                  <c:v>0.11431235193583045</c:v>
                </c:pt>
                <c:pt idx="65">
                  <c:v>0.11204962927398965</c:v>
                </c:pt>
                <c:pt idx="66">
                  <c:v>9.474380173826491E-2</c:v>
                </c:pt>
                <c:pt idx="67">
                  <c:v>8.6382477003728697E-2</c:v>
                </c:pt>
                <c:pt idx="68">
                  <c:v>0.10693390023595128</c:v>
                </c:pt>
                <c:pt idx="69">
                  <c:v>0.12008682091872491</c:v>
                </c:pt>
                <c:pt idx="70">
                  <c:v>0.1192886470501382</c:v>
                </c:pt>
                <c:pt idx="71">
                  <c:v>0.11908516037410455</c:v>
                </c:pt>
                <c:pt idx="72">
                  <c:v>0.13140337836840654</c:v>
                </c:pt>
                <c:pt idx="73">
                  <c:v>0.1342262297974357</c:v>
                </c:pt>
                <c:pt idx="74">
                  <c:v>0.11951792431729147</c:v>
                </c:pt>
                <c:pt idx="75">
                  <c:v>0.13591080137948475</c:v>
                </c:pt>
                <c:pt idx="76">
                  <c:v>0.14778277312010246</c:v>
                </c:pt>
                <c:pt idx="77">
                  <c:v>0.16465322865425369</c:v>
                </c:pt>
                <c:pt idx="78">
                  <c:v>0.1525953408473506</c:v>
                </c:pt>
                <c:pt idx="79">
                  <c:v>0.14551759863780922</c:v>
                </c:pt>
                <c:pt idx="80">
                  <c:v>0.16026293027099481</c:v>
                </c:pt>
                <c:pt idx="81">
                  <c:v>0.14740791316135038</c:v>
                </c:pt>
                <c:pt idx="82">
                  <c:v>0.13727641602892704</c:v>
                </c:pt>
                <c:pt idx="83">
                  <c:v>0.13977228285154397</c:v>
                </c:pt>
                <c:pt idx="84">
                  <c:v>0.15281971208225875</c:v>
                </c:pt>
                <c:pt idx="85">
                  <c:v>0.15249819066455905</c:v>
                </c:pt>
                <c:pt idx="86">
                  <c:v>0.15569418339709085</c:v>
                </c:pt>
                <c:pt idx="87">
                  <c:v>0.13975762288571847</c:v>
                </c:pt>
                <c:pt idx="88">
                  <c:v>0.13660493932505435</c:v>
                </c:pt>
                <c:pt idx="89">
                  <c:v>0.11382385286566832</c:v>
                </c:pt>
                <c:pt idx="90">
                  <c:v>0.11207147379795468</c:v>
                </c:pt>
                <c:pt idx="91">
                  <c:v>0.1179997044104768</c:v>
                </c:pt>
                <c:pt idx="92">
                  <c:v>0.10621699372572424</c:v>
                </c:pt>
                <c:pt idx="93">
                  <c:v>0.10961739414273763</c:v>
                </c:pt>
                <c:pt idx="94">
                  <c:v>0.10624948342803564</c:v>
                </c:pt>
                <c:pt idx="95">
                  <c:v>0.1010224546188383</c:v>
                </c:pt>
                <c:pt idx="96">
                  <c:v>0.10936996646077635</c:v>
                </c:pt>
                <c:pt idx="97">
                  <c:v>0.12728251956123171</c:v>
                </c:pt>
                <c:pt idx="98">
                  <c:v>0.12805718810867428</c:v>
                </c:pt>
                <c:pt idx="99">
                  <c:v>0.1107688092551582</c:v>
                </c:pt>
                <c:pt idx="100">
                  <c:v>0.11234043604337351</c:v>
                </c:pt>
                <c:pt idx="101">
                  <c:v>9.1806854062099985E-2</c:v>
                </c:pt>
                <c:pt idx="102">
                  <c:v>7.5999128525561899E-2</c:v>
                </c:pt>
                <c:pt idx="103">
                  <c:v>7.4375230640791212E-2</c:v>
                </c:pt>
                <c:pt idx="104">
                  <c:v>9.2075992315690636E-2</c:v>
                </c:pt>
                <c:pt idx="105">
                  <c:v>8.4452319020934086E-2</c:v>
                </c:pt>
                <c:pt idx="106">
                  <c:v>0.10349866354513071</c:v>
                </c:pt>
                <c:pt idx="107">
                  <c:v>9.1337666873397838E-2</c:v>
                </c:pt>
                <c:pt idx="108">
                  <c:v>0.10107108925670838</c:v>
                </c:pt>
                <c:pt idx="109">
                  <c:v>0.11536662552985488</c:v>
                </c:pt>
                <c:pt idx="110">
                  <c:v>9.7003564017118959E-2</c:v>
                </c:pt>
                <c:pt idx="111">
                  <c:v>0.10027822935606645</c:v>
                </c:pt>
                <c:pt idx="112">
                  <c:v>0.10648148798535306</c:v>
                </c:pt>
                <c:pt idx="113">
                  <c:v>0.10830430558866011</c:v>
                </c:pt>
                <c:pt idx="114">
                  <c:v>0.10656061042467746</c:v>
                </c:pt>
                <c:pt idx="115">
                  <c:v>0.12231548842772089</c:v>
                </c:pt>
                <c:pt idx="116">
                  <c:v>0.12872907251788979</c:v>
                </c:pt>
                <c:pt idx="117">
                  <c:v>0.14502498562945965</c:v>
                </c:pt>
                <c:pt idx="118">
                  <c:v>0.14925860101132615</c:v>
                </c:pt>
                <c:pt idx="119">
                  <c:v>0.14259715338228429</c:v>
                </c:pt>
                <c:pt idx="120">
                  <c:v>0.13974843015947158</c:v>
                </c:pt>
                <c:pt idx="121">
                  <c:v>0.14382872953944248</c:v>
                </c:pt>
                <c:pt idx="122">
                  <c:v>0.14496935554853918</c:v>
                </c:pt>
                <c:pt idx="123">
                  <c:v>0.14492161032641282</c:v>
                </c:pt>
                <c:pt idx="124">
                  <c:v>0.14018838989716231</c:v>
                </c:pt>
                <c:pt idx="125">
                  <c:v>0.15530797206023261</c:v>
                </c:pt>
                <c:pt idx="126">
                  <c:v>0.15291798645843158</c:v>
                </c:pt>
                <c:pt idx="127">
                  <c:v>0.15673080153144836</c:v>
                </c:pt>
                <c:pt idx="128">
                  <c:v>0.15771934367443707</c:v>
                </c:pt>
                <c:pt idx="129">
                  <c:v>0.15762151638989663</c:v>
                </c:pt>
                <c:pt idx="130">
                  <c:v>0.15073170041079886</c:v>
                </c:pt>
                <c:pt idx="131">
                  <c:v>0.15177069606309979</c:v>
                </c:pt>
                <c:pt idx="132">
                  <c:v>0.15275246540442411</c:v>
                </c:pt>
                <c:pt idx="133">
                  <c:v>0.13452537397194231</c:v>
                </c:pt>
                <c:pt idx="134">
                  <c:v>0.1301666409376796</c:v>
                </c:pt>
                <c:pt idx="135">
                  <c:v>0.15228083763423528</c:v>
                </c:pt>
                <c:pt idx="136">
                  <c:v>0.16179061138723072</c:v>
                </c:pt>
                <c:pt idx="137">
                  <c:v>0.16134076606250147</c:v>
                </c:pt>
                <c:pt idx="138">
                  <c:v>0.14788616875136107</c:v>
                </c:pt>
                <c:pt idx="139">
                  <c:v>0.13985337613105586</c:v>
                </c:pt>
                <c:pt idx="140">
                  <c:v>0.13162363475538963</c:v>
                </c:pt>
                <c:pt idx="141">
                  <c:v>0.15253185251822066</c:v>
                </c:pt>
                <c:pt idx="142">
                  <c:v>0.15305279691555884</c:v>
                </c:pt>
                <c:pt idx="143">
                  <c:v>0.14777262224264343</c:v>
                </c:pt>
                <c:pt idx="144">
                  <c:v>0.1529187755717305</c:v>
                </c:pt>
                <c:pt idx="145">
                  <c:v>0.15096250299334035</c:v>
                </c:pt>
                <c:pt idx="146">
                  <c:v>0.14914006896610066</c:v>
                </c:pt>
                <c:pt idx="147">
                  <c:v>0.15254037443017121</c:v>
                </c:pt>
                <c:pt idx="148">
                  <c:v>0.14518785836553127</c:v>
                </c:pt>
                <c:pt idx="149">
                  <c:v>0.15880608882085667</c:v>
                </c:pt>
                <c:pt idx="150">
                  <c:v>0.16975112821037852</c:v>
                </c:pt>
                <c:pt idx="151">
                  <c:v>0.16805943412876068</c:v>
                </c:pt>
                <c:pt idx="152">
                  <c:v>0.16824083375888099</c:v>
                </c:pt>
                <c:pt idx="153">
                  <c:v>0.15512919958527149</c:v>
                </c:pt>
                <c:pt idx="154">
                  <c:v>0.14667619512854624</c:v>
                </c:pt>
                <c:pt idx="155">
                  <c:v>0.15671878524548211</c:v>
                </c:pt>
                <c:pt idx="156">
                  <c:v>0.17181350270542151</c:v>
                </c:pt>
                <c:pt idx="157">
                  <c:v>0.17183248608416513</c:v>
                </c:pt>
                <c:pt idx="158">
                  <c:v>0.16467270677743939</c:v>
                </c:pt>
                <c:pt idx="159">
                  <c:v>0.17615125510635532</c:v>
                </c:pt>
                <c:pt idx="160">
                  <c:v>0.19324461414219263</c:v>
                </c:pt>
                <c:pt idx="161">
                  <c:v>0.19085621572252554</c:v>
                </c:pt>
                <c:pt idx="162">
                  <c:v>0.19365770497001278</c:v>
                </c:pt>
                <c:pt idx="163">
                  <c:v>0.1891074817986671</c:v>
                </c:pt>
                <c:pt idx="164">
                  <c:v>0.19646615453903005</c:v>
                </c:pt>
                <c:pt idx="165">
                  <c:v>0.19783969768444076</c:v>
                </c:pt>
                <c:pt idx="166">
                  <c:v>0.20900679783404352</c:v>
                </c:pt>
                <c:pt idx="167">
                  <c:v>0.21738606124779203</c:v>
                </c:pt>
                <c:pt idx="168">
                  <c:v>0.21838443955662146</c:v>
                </c:pt>
                <c:pt idx="169">
                  <c:v>0.23322338732286951</c:v>
                </c:pt>
                <c:pt idx="170">
                  <c:v>0.2286954843339748</c:v>
                </c:pt>
                <c:pt idx="171">
                  <c:v>0.22287613678107232</c:v>
                </c:pt>
                <c:pt idx="172">
                  <c:v>0.21646178458081455</c:v>
                </c:pt>
                <c:pt idx="173">
                  <c:v>0.22097595261721548</c:v>
                </c:pt>
                <c:pt idx="174">
                  <c:v>0.21162474199131087</c:v>
                </c:pt>
                <c:pt idx="175">
                  <c:v>0.20618866642389255</c:v>
                </c:pt>
                <c:pt idx="176">
                  <c:v>0.22000471326571169</c:v>
                </c:pt>
                <c:pt idx="177">
                  <c:v>0.21957514960617086</c:v>
                </c:pt>
                <c:pt idx="178">
                  <c:v>0.22503091903793404</c:v>
                </c:pt>
                <c:pt idx="179">
                  <c:v>0.24006021086815088</c:v>
                </c:pt>
                <c:pt idx="180">
                  <c:v>0.24151269339314063</c:v>
                </c:pt>
                <c:pt idx="181">
                  <c:v>0.2390692722612735</c:v>
                </c:pt>
                <c:pt idx="182">
                  <c:v>0.22925163078943855</c:v>
                </c:pt>
                <c:pt idx="183">
                  <c:v>0.22573019364271607</c:v>
                </c:pt>
                <c:pt idx="184">
                  <c:v>0.22867635873615577</c:v>
                </c:pt>
                <c:pt idx="185">
                  <c:v>0.23696046334966248</c:v>
                </c:pt>
                <c:pt idx="186">
                  <c:v>0.24612893800005664</c:v>
                </c:pt>
                <c:pt idx="187">
                  <c:v>0.25668427316938613</c:v>
                </c:pt>
                <c:pt idx="188">
                  <c:v>0.25539654879466944</c:v>
                </c:pt>
                <c:pt idx="189">
                  <c:v>0.26023735788682179</c:v>
                </c:pt>
                <c:pt idx="190">
                  <c:v>0.26920508090180872</c:v>
                </c:pt>
                <c:pt idx="191">
                  <c:v>0.27219761264155906</c:v>
                </c:pt>
                <c:pt idx="192">
                  <c:v>0.26360175503222383</c:v>
                </c:pt>
                <c:pt idx="193">
                  <c:v>0.26401166744155624</c:v>
                </c:pt>
                <c:pt idx="194">
                  <c:v>0.26911195451968295</c:v>
                </c:pt>
                <c:pt idx="195">
                  <c:v>0.27268450467165595</c:v>
                </c:pt>
                <c:pt idx="196">
                  <c:v>0.2724860931573776</c:v>
                </c:pt>
                <c:pt idx="197">
                  <c:v>0.26431075175466945</c:v>
                </c:pt>
                <c:pt idx="198">
                  <c:v>0.27679936049835163</c:v>
                </c:pt>
                <c:pt idx="199">
                  <c:v>0.27867459571911546</c:v>
                </c:pt>
                <c:pt idx="200">
                  <c:v>0.27526628858422608</c:v>
                </c:pt>
                <c:pt idx="201">
                  <c:v>0.25761851604965336</c:v>
                </c:pt>
                <c:pt idx="202">
                  <c:v>0.25441184035742981</c:v>
                </c:pt>
                <c:pt idx="203">
                  <c:v>0.24776571554484805</c:v>
                </c:pt>
                <c:pt idx="204">
                  <c:v>0.25902542858535327</c:v>
                </c:pt>
                <c:pt idx="205">
                  <c:v>0.25371284488689461</c:v>
                </c:pt>
                <c:pt idx="206">
                  <c:v>0.24489021685485657</c:v>
                </c:pt>
                <c:pt idx="207">
                  <c:v>0.24520243532124386</c:v>
                </c:pt>
                <c:pt idx="208">
                  <c:v>0.24387044227618082</c:v>
                </c:pt>
                <c:pt idx="209">
                  <c:v>0.25102145344882665</c:v>
                </c:pt>
                <c:pt idx="210">
                  <c:v>0.2365712799464752</c:v>
                </c:pt>
                <c:pt idx="211">
                  <c:v>0.2272297258692475</c:v>
                </c:pt>
                <c:pt idx="212">
                  <c:v>0.21776336665578255</c:v>
                </c:pt>
                <c:pt idx="213">
                  <c:v>0.21758265057217074</c:v>
                </c:pt>
                <c:pt idx="214">
                  <c:v>0.22595791459239667</c:v>
                </c:pt>
                <c:pt idx="215">
                  <c:v>0.22255281648461622</c:v>
                </c:pt>
                <c:pt idx="216">
                  <c:v>0.23605664587437891</c:v>
                </c:pt>
                <c:pt idx="217">
                  <c:v>0.21942266077385364</c:v>
                </c:pt>
                <c:pt idx="218">
                  <c:v>0.22761218142134498</c:v>
                </c:pt>
                <c:pt idx="219">
                  <c:v>0.23530268069307714</c:v>
                </c:pt>
                <c:pt idx="220">
                  <c:v>0.25322655199912947</c:v>
                </c:pt>
                <c:pt idx="221">
                  <c:v>0.25802854017842458</c:v>
                </c:pt>
                <c:pt idx="222">
                  <c:v>0.25602135564256989</c:v>
                </c:pt>
                <c:pt idx="223">
                  <c:v>0.25827993324428644</c:v>
                </c:pt>
                <c:pt idx="224">
                  <c:v>0.25300245554827328</c:v>
                </c:pt>
                <c:pt idx="225">
                  <c:v>0.24426915373334745</c:v>
                </c:pt>
                <c:pt idx="226">
                  <c:v>0.24027156579623288</c:v>
                </c:pt>
                <c:pt idx="227">
                  <c:v>0.24204130929346745</c:v>
                </c:pt>
                <c:pt idx="228">
                  <c:v>0.2503934160778114</c:v>
                </c:pt>
                <c:pt idx="229">
                  <c:v>0.24327167533719862</c:v>
                </c:pt>
                <c:pt idx="230">
                  <c:v>0.24481457548629204</c:v>
                </c:pt>
                <c:pt idx="231">
                  <c:v>0.25530661961723577</c:v>
                </c:pt>
                <c:pt idx="232">
                  <c:v>0.24004259324533805</c:v>
                </c:pt>
                <c:pt idx="233">
                  <c:v>0.2409391440402544</c:v>
                </c:pt>
                <c:pt idx="234">
                  <c:v>0.23826802253270785</c:v>
                </c:pt>
                <c:pt idx="235">
                  <c:v>0.22663647568984913</c:v>
                </c:pt>
                <c:pt idx="236">
                  <c:v>0.2065189015066502</c:v>
                </c:pt>
                <c:pt idx="237">
                  <c:v>0.20374704498232887</c:v>
                </c:pt>
                <c:pt idx="238">
                  <c:v>0.20859200646367837</c:v>
                </c:pt>
                <c:pt idx="239">
                  <c:v>0.19078219465642965</c:v>
                </c:pt>
                <c:pt idx="240">
                  <c:v>0.19105559824832263</c:v>
                </c:pt>
                <c:pt idx="241">
                  <c:v>0.19807532262771854</c:v>
                </c:pt>
                <c:pt idx="242">
                  <c:v>0.19482973657872016</c:v>
                </c:pt>
                <c:pt idx="243">
                  <c:v>0.19492353071304169</c:v>
                </c:pt>
                <c:pt idx="244">
                  <c:v>0.17850109916868706</c:v>
                </c:pt>
                <c:pt idx="245">
                  <c:v>0.18805791813217576</c:v>
                </c:pt>
                <c:pt idx="246">
                  <c:v>0.18650714613163788</c:v>
                </c:pt>
                <c:pt idx="247">
                  <c:v>0.2005273891731878</c:v>
                </c:pt>
                <c:pt idx="248">
                  <c:v>0.20809395314892964</c:v>
                </c:pt>
                <c:pt idx="249">
                  <c:v>0.2143858272663246</c:v>
                </c:pt>
                <c:pt idx="250">
                  <c:v>0.21959845699128255</c:v>
                </c:pt>
                <c:pt idx="251">
                  <c:v>0.21198060110922357</c:v>
                </c:pt>
                <c:pt idx="252">
                  <c:v>0.20589985203733829</c:v>
                </c:pt>
                <c:pt idx="253">
                  <c:v>0.21867611978970358</c:v>
                </c:pt>
                <c:pt idx="254">
                  <c:v>0.21855388657488861</c:v>
                </c:pt>
                <c:pt idx="255">
                  <c:v>0.20222684861483775</c:v>
                </c:pt>
                <c:pt idx="256">
                  <c:v>0.19202763692192892</c:v>
                </c:pt>
                <c:pt idx="257">
                  <c:v>0.17702620751679388</c:v>
                </c:pt>
                <c:pt idx="258">
                  <c:v>0.17504338916761109</c:v>
                </c:pt>
                <c:pt idx="259">
                  <c:v>0.18357913935520243</c:v>
                </c:pt>
                <c:pt idx="260">
                  <c:v>0.16660661449684877</c:v>
                </c:pt>
                <c:pt idx="261">
                  <c:v>0.15280425831941358</c:v>
                </c:pt>
                <c:pt idx="262">
                  <c:v>0.14727125900118376</c:v>
                </c:pt>
                <c:pt idx="263">
                  <c:v>0.16104769227927007</c:v>
                </c:pt>
                <c:pt idx="264">
                  <c:v>0.16856710155354748</c:v>
                </c:pt>
                <c:pt idx="265">
                  <c:v>0.18084254838523717</c:v>
                </c:pt>
                <c:pt idx="266">
                  <c:v>0.20311158566821486</c:v>
                </c:pt>
                <c:pt idx="267">
                  <c:v>0.21441325497050623</c:v>
                </c:pt>
                <c:pt idx="268">
                  <c:v>0.21654285005442264</c:v>
                </c:pt>
                <c:pt idx="269">
                  <c:v>0.21999831836571726</c:v>
                </c:pt>
                <c:pt idx="270">
                  <c:v>0.22122563667399331</c:v>
                </c:pt>
                <c:pt idx="271">
                  <c:v>0.21135214952404779</c:v>
                </c:pt>
                <c:pt idx="272">
                  <c:v>0.23027056285445435</c:v>
                </c:pt>
                <c:pt idx="273">
                  <c:v>0.22924242574507692</c:v>
                </c:pt>
                <c:pt idx="274">
                  <c:v>0.2526892416222235</c:v>
                </c:pt>
                <c:pt idx="275">
                  <c:v>0.25468915999647335</c:v>
                </c:pt>
                <c:pt idx="276">
                  <c:v>0.256183996661693</c:v>
                </c:pt>
                <c:pt idx="277">
                  <c:v>0.25779291712461716</c:v>
                </c:pt>
                <c:pt idx="278">
                  <c:v>0.26708825834075145</c:v>
                </c:pt>
                <c:pt idx="279">
                  <c:v>0.26452874005890314</c:v>
                </c:pt>
                <c:pt idx="280">
                  <c:v>0.26966348546078645</c:v>
                </c:pt>
                <c:pt idx="281">
                  <c:v>0.27042033186446979</c:v>
                </c:pt>
                <c:pt idx="282">
                  <c:v>0.26793843870413947</c:v>
                </c:pt>
                <c:pt idx="283">
                  <c:v>0.26918190593097657</c:v>
                </c:pt>
                <c:pt idx="284">
                  <c:v>0.26798151368434708</c:v>
                </c:pt>
                <c:pt idx="285">
                  <c:v>0.27277866814506924</c:v>
                </c:pt>
                <c:pt idx="286">
                  <c:v>0.28025547915322058</c:v>
                </c:pt>
                <c:pt idx="287">
                  <c:v>0.27333121739422039</c:v>
                </c:pt>
                <c:pt idx="288">
                  <c:v>0.27260720126400995</c:v>
                </c:pt>
                <c:pt idx="289">
                  <c:v>0.26763461588579096</c:v>
                </c:pt>
                <c:pt idx="290">
                  <c:v>0.27773500174170729</c:v>
                </c:pt>
                <c:pt idx="291">
                  <c:v>0.28296962649684265</c:v>
                </c:pt>
                <c:pt idx="292">
                  <c:v>0.28800425590514145</c:v>
                </c:pt>
                <c:pt idx="293">
                  <c:v>0.29392843148017733</c:v>
                </c:pt>
                <c:pt idx="294">
                  <c:v>0.31159146031978358</c:v>
                </c:pt>
                <c:pt idx="295">
                  <c:v>0.31506350523354199</c:v>
                </c:pt>
                <c:pt idx="296">
                  <c:v>0.31496290287539153</c:v>
                </c:pt>
                <c:pt idx="297">
                  <c:v>0.32091613442557909</c:v>
                </c:pt>
                <c:pt idx="298">
                  <c:v>0.32866502474496007</c:v>
                </c:pt>
                <c:pt idx="299">
                  <c:v>0.30915636905313226</c:v>
                </c:pt>
                <c:pt idx="300">
                  <c:v>0.32264081057001648</c:v>
                </c:pt>
                <c:pt idx="301">
                  <c:v>0.32483811374861649</c:v>
                </c:pt>
                <c:pt idx="302">
                  <c:v>0.33044416622694373</c:v>
                </c:pt>
                <c:pt idx="303">
                  <c:v>0.33234683442906499</c:v>
                </c:pt>
                <c:pt idx="304">
                  <c:v>0.33283966952312016</c:v>
                </c:pt>
                <c:pt idx="305">
                  <c:v>0.32907306461704788</c:v>
                </c:pt>
                <c:pt idx="306">
                  <c:v>0.32154971362747653</c:v>
                </c:pt>
                <c:pt idx="307">
                  <c:v>0.31095617112303864</c:v>
                </c:pt>
                <c:pt idx="308">
                  <c:v>0.30646024693417218</c:v>
                </c:pt>
                <c:pt idx="309">
                  <c:v>0.3088479336814689</c:v>
                </c:pt>
                <c:pt idx="310">
                  <c:v>0.32731970456951553</c:v>
                </c:pt>
                <c:pt idx="311">
                  <c:v>0.32535792604616187</c:v>
                </c:pt>
                <c:pt idx="312">
                  <c:v>0.33286806673410241</c:v>
                </c:pt>
                <c:pt idx="313">
                  <c:v>0.33197451198216399</c:v>
                </c:pt>
                <c:pt idx="314">
                  <c:v>0.33297442524830889</c:v>
                </c:pt>
                <c:pt idx="315">
                  <c:v>0.32799923150351207</c:v>
                </c:pt>
                <c:pt idx="316">
                  <c:v>0.32054052381977249</c:v>
                </c:pt>
                <c:pt idx="317">
                  <c:v>0.33216814724011035</c:v>
                </c:pt>
                <c:pt idx="318">
                  <c:v>0.34857286545566901</c:v>
                </c:pt>
                <c:pt idx="319">
                  <c:v>0.35153042060689987</c:v>
                </c:pt>
                <c:pt idx="320">
                  <c:v>0.35547905188374518</c:v>
                </c:pt>
                <c:pt idx="321">
                  <c:v>0.35658173409245264</c:v>
                </c:pt>
                <c:pt idx="322">
                  <c:v>0.36371545479935108</c:v>
                </c:pt>
                <c:pt idx="323">
                  <c:v>0.3628279487813677</c:v>
                </c:pt>
                <c:pt idx="324">
                  <c:v>0.37312602189353905</c:v>
                </c:pt>
                <c:pt idx="325">
                  <c:v>0.37230269553081174</c:v>
                </c:pt>
                <c:pt idx="326">
                  <c:v>0.35019901601389702</c:v>
                </c:pt>
                <c:pt idx="327">
                  <c:v>0.36706988773889226</c:v>
                </c:pt>
                <c:pt idx="328">
                  <c:v>0.38167620924744949</c:v>
                </c:pt>
                <c:pt idx="329">
                  <c:v>0.37727142549236858</c:v>
                </c:pt>
                <c:pt idx="330">
                  <c:v>0.38045485066525164</c:v>
                </c:pt>
                <c:pt idx="331">
                  <c:v>0.39183048886215888</c:v>
                </c:pt>
                <c:pt idx="332">
                  <c:v>0.39262452815605475</c:v>
                </c:pt>
                <c:pt idx="333">
                  <c:v>0.40062237082125507</c:v>
                </c:pt>
                <c:pt idx="334">
                  <c:v>0.39929486093819055</c:v>
                </c:pt>
                <c:pt idx="335">
                  <c:v>0.38015866413794419</c:v>
                </c:pt>
                <c:pt idx="336">
                  <c:v>0.39338086017211848</c:v>
                </c:pt>
                <c:pt idx="337">
                  <c:v>0.40149340221621244</c:v>
                </c:pt>
                <c:pt idx="338">
                  <c:v>0.39475964686658416</c:v>
                </c:pt>
                <c:pt idx="339">
                  <c:v>0.38638453361504443</c:v>
                </c:pt>
                <c:pt idx="340">
                  <c:v>0.38813595319636018</c:v>
                </c:pt>
                <c:pt idx="341">
                  <c:v>0.41745893707167991</c:v>
                </c:pt>
                <c:pt idx="342">
                  <c:v>0.41795150405231229</c:v>
                </c:pt>
                <c:pt idx="343">
                  <c:v>0.41258228888706783</c:v>
                </c:pt>
                <c:pt idx="344">
                  <c:v>0.4149931430795113</c:v>
                </c:pt>
                <c:pt idx="345">
                  <c:v>0.41264524495719934</c:v>
                </c:pt>
                <c:pt idx="346">
                  <c:v>0.42003281453022767</c:v>
                </c:pt>
                <c:pt idx="347">
                  <c:v>0.43140543133195597</c:v>
                </c:pt>
                <c:pt idx="348">
                  <c:v>0.42969604696585928</c:v>
                </c:pt>
                <c:pt idx="349">
                  <c:v>0.4151244418855784</c:v>
                </c:pt>
                <c:pt idx="350">
                  <c:v>0.42239789849198184</c:v>
                </c:pt>
                <c:pt idx="351">
                  <c:v>0.4370549976369924</c:v>
                </c:pt>
                <c:pt idx="352">
                  <c:v>0.42767361520141867</c:v>
                </c:pt>
                <c:pt idx="353">
                  <c:v>0.42607019496418586</c:v>
                </c:pt>
                <c:pt idx="354">
                  <c:v>0.44204489068115538</c:v>
                </c:pt>
                <c:pt idx="355">
                  <c:v>0.43927082892495206</c:v>
                </c:pt>
                <c:pt idx="356">
                  <c:v>0.43513810666677699</c:v>
                </c:pt>
                <c:pt idx="357">
                  <c:v>0.42583381929363484</c:v>
                </c:pt>
                <c:pt idx="358">
                  <c:v>0.43484209478055003</c:v>
                </c:pt>
                <c:pt idx="359">
                  <c:v>0.44294823519501292</c:v>
                </c:pt>
                <c:pt idx="360">
                  <c:v>0.45579754493460123</c:v>
                </c:pt>
                <c:pt idx="361">
                  <c:v>0.46050923368878216</c:v>
                </c:pt>
                <c:pt idx="362">
                  <c:v>0.45846043133576342</c:v>
                </c:pt>
                <c:pt idx="363">
                  <c:v>0.45400395964177376</c:v>
                </c:pt>
                <c:pt idx="364">
                  <c:v>0.44993507496111218</c:v>
                </c:pt>
                <c:pt idx="365">
                  <c:v>0.46244859463205645</c:v>
                </c:pt>
                <c:pt idx="366">
                  <c:v>0.46408185722254136</c:v>
                </c:pt>
                <c:pt idx="367">
                  <c:v>0.46113348917846664</c:v>
                </c:pt>
                <c:pt idx="368">
                  <c:v>0.45055575939690806</c:v>
                </c:pt>
                <c:pt idx="369">
                  <c:v>0.45213701023022668</c:v>
                </c:pt>
                <c:pt idx="370">
                  <c:v>0.4342267879871502</c:v>
                </c:pt>
                <c:pt idx="371">
                  <c:v>0.45014455399362552</c:v>
                </c:pt>
                <c:pt idx="372">
                  <c:v>0.44960307001716426</c:v>
                </c:pt>
                <c:pt idx="373">
                  <c:v>0.45169818133426021</c:v>
                </c:pt>
                <c:pt idx="374">
                  <c:v>0.43796918129374585</c:v>
                </c:pt>
                <c:pt idx="375">
                  <c:v>0.44867371147313251</c:v>
                </c:pt>
                <c:pt idx="376">
                  <c:v>0.42759449489960044</c:v>
                </c:pt>
                <c:pt idx="377">
                  <c:v>0.41043266767916498</c:v>
                </c:pt>
                <c:pt idx="378">
                  <c:v>0.40753436959035105</c:v>
                </c:pt>
                <c:pt idx="379">
                  <c:v>0.39939642812569054</c:v>
                </c:pt>
                <c:pt idx="380">
                  <c:v>0.39630754038988858</c:v>
                </c:pt>
                <c:pt idx="381">
                  <c:v>0.38407853932039981</c:v>
                </c:pt>
                <c:pt idx="382">
                  <c:v>0.39616320586291409</c:v>
                </c:pt>
                <c:pt idx="383">
                  <c:v>0.41286676284153745</c:v>
                </c:pt>
                <c:pt idx="384">
                  <c:v>0.41316699702864113</c:v>
                </c:pt>
                <c:pt idx="385">
                  <c:v>0.40669893168324101</c:v>
                </c:pt>
                <c:pt idx="386">
                  <c:v>0.42106203112519269</c:v>
                </c:pt>
                <c:pt idx="387">
                  <c:v>0.425577455729093</c:v>
                </c:pt>
                <c:pt idx="388">
                  <c:v>0.40315355002371112</c:v>
                </c:pt>
                <c:pt idx="389">
                  <c:v>0.39833119190298949</c:v>
                </c:pt>
                <c:pt idx="390">
                  <c:v>0.41109585818827599</c:v>
                </c:pt>
                <c:pt idx="391">
                  <c:v>0.42881512998913207</c:v>
                </c:pt>
                <c:pt idx="392">
                  <c:v>0.44357036095501678</c:v>
                </c:pt>
                <c:pt idx="393">
                  <c:v>0.44550893159274341</c:v>
                </c:pt>
                <c:pt idx="394">
                  <c:v>0.44550141494629902</c:v>
                </c:pt>
                <c:pt idx="395">
                  <c:v>0.45286046264979052</c:v>
                </c:pt>
                <c:pt idx="396">
                  <c:v>0.45525506726432985</c:v>
                </c:pt>
                <c:pt idx="397">
                  <c:v>0.45490405974210568</c:v>
                </c:pt>
                <c:pt idx="398">
                  <c:v>0.46194390401597984</c:v>
                </c:pt>
                <c:pt idx="399">
                  <c:v>0.47907174640665007</c:v>
                </c:pt>
                <c:pt idx="400">
                  <c:v>0.47599246693780617</c:v>
                </c:pt>
                <c:pt idx="401">
                  <c:v>0.47771199816178878</c:v>
                </c:pt>
                <c:pt idx="402">
                  <c:v>0.47906691229290321</c:v>
                </c:pt>
                <c:pt idx="403">
                  <c:v>0.48276724189407783</c:v>
                </c:pt>
                <c:pt idx="404">
                  <c:v>0.47875294614009811</c:v>
                </c:pt>
                <c:pt idx="405">
                  <c:v>0.4678393057717003</c:v>
                </c:pt>
                <c:pt idx="406">
                  <c:v>0.47811550196747743</c:v>
                </c:pt>
                <c:pt idx="407">
                  <c:v>0.47848517865451945</c:v>
                </c:pt>
                <c:pt idx="408">
                  <c:v>0.46759169985819282</c:v>
                </c:pt>
                <c:pt idx="409">
                  <c:v>0.45882225241486019</c:v>
                </c:pt>
                <c:pt idx="410">
                  <c:v>0.47053353157502165</c:v>
                </c:pt>
                <c:pt idx="411">
                  <c:v>0.47217464699625911</c:v>
                </c:pt>
                <c:pt idx="412">
                  <c:v>0.47438658940337097</c:v>
                </c:pt>
                <c:pt idx="413">
                  <c:v>0.49185556403059905</c:v>
                </c:pt>
                <c:pt idx="414">
                  <c:v>0.49155838640224414</c:v>
                </c:pt>
                <c:pt idx="415">
                  <c:v>0.48989380724301923</c:v>
                </c:pt>
                <c:pt idx="416">
                  <c:v>0.49373922315951346</c:v>
                </c:pt>
                <c:pt idx="417">
                  <c:v>0.49778725645427579</c:v>
                </c:pt>
                <c:pt idx="418">
                  <c:v>0.51052384016826036</c:v>
                </c:pt>
                <c:pt idx="419">
                  <c:v>0.51406737804491098</c:v>
                </c:pt>
                <c:pt idx="420">
                  <c:v>0.51347068409122354</c:v>
                </c:pt>
                <c:pt idx="421">
                  <c:v>0.52507098284357756</c:v>
                </c:pt>
                <c:pt idx="422">
                  <c:v>0.52891431422744151</c:v>
                </c:pt>
                <c:pt idx="423">
                  <c:v>0.52505304112686013</c:v>
                </c:pt>
                <c:pt idx="424">
                  <c:v>0.52267136579253237</c:v>
                </c:pt>
                <c:pt idx="425">
                  <c:v>0.51800453032351479</c:v>
                </c:pt>
                <c:pt idx="426">
                  <c:v>0.52397438673991803</c:v>
                </c:pt>
                <c:pt idx="427">
                  <c:v>0.52637236043745306</c:v>
                </c:pt>
                <c:pt idx="428">
                  <c:v>0.52775662753113362</c:v>
                </c:pt>
                <c:pt idx="429">
                  <c:v>0.52151803334261015</c:v>
                </c:pt>
                <c:pt idx="430">
                  <c:v>0.52558778977819509</c:v>
                </c:pt>
                <c:pt idx="431">
                  <c:v>0.53504002660610284</c:v>
                </c:pt>
                <c:pt idx="432">
                  <c:v>0.54284417010136843</c:v>
                </c:pt>
                <c:pt idx="433">
                  <c:v>0.55125112798425091</c:v>
                </c:pt>
                <c:pt idx="434">
                  <c:v>0.55282812988095986</c:v>
                </c:pt>
                <c:pt idx="435">
                  <c:v>0.5539801730705185</c:v>
                </c:pt>
                <c:pt idx="436">
                  <c:v>0.56984258108515307</c:v>
                </c:pt>
                <c:pt idx="437">
                  <c:v>0.55608667848413629</c:v>
                </c:pt>
                <c:pt idx="438">
                  <c:v>0.5646700526026549</c:v>
                </c:pt>
                <c:pt idx="439">
                  <c:v>0.56909134077029422</c:v>
                </c:pt>
                <c:pt idx="440">
                  <c:v>0.57911736371041411</c:v>
                </c:pt>
                <c:pt idx="441">
                  <c:v>0.55712531200949189</c:v>
                </c:pt>
                <c:pt idx="442">
                  <c:v>0.54495466485829458</c:v>
                </c:pt>
                <c:pt idx="443">
                  <c:v>0.53392322506480694</c:v>
                </c:pt>
                <c:pt idx="444">
                  <c:v>0.5504773245097061</c:v>
                </c:pt>
                <c:pt idx="445">
                  <c:v>0.54806168083812001</c:v>
                </c:pt>
                <c:pt idx="446">
                  <c:v>0.51222389812054958</c:v>
                </c:pt>
                <c:pt idx="447">
                  <c:v>0.50444834528119342</c:v>
                </c:pt>
                <c:pt idx="448">
                  <c:v>0.52113192520618923</c:v>
                </c:pt>
                <c:pt idx="449">
                  <c:v>0.52236936602734452</c:v>
                </c:pt>
                <c:pt idx="450">
                  <c:v>0.51481978410427831</c:v>
                </c:pt>
                <c:pt idx="451">
                  <c:v>0.53874333295463717</c:v>
                </c:pt>
                <c:pt idx="452">
                  <c:v>0.5176731666221559</c:v>
                </c:pt>
                <c:pt idx="453">
                  <c:v>0.48977529847330747</c:v>
                </c:pt>
                <c:pt idx="454">
                  <c:v>0.44512777562077144</c:v>
                </c:pt>
                <c:pt idx="455">
                  <c:v>0.46008961702010609</c:v>
                </c:pt>
                <c:pt idx="456">
                  <c:v>0.44879728392207263</c:v>
                </c:pt>
                <c:pt idx="457">
                  <c:v>0.48218076069766158</c:v>
                </c:pt>
                <c:pt idx="458">
                  <c:v>0.4891066949562497</c:v>
                </c:pt>
                <c:pt idx="459">
                  <c:v>0.48916819506275133</c:v>
                </c:pt>
                <c:pt idx="460">
                  <c:v>0.51425918998136355</c:v>
                </c:pt>
                <c:pt idx="461">
                  <c:v>0.5200491114201764</c:v>
                </c:pt>
                <c:pt idx="462">
                  <c:v>0.54457130371016249</c:v>
                </c:pt>
                <c:pt idx="463">
                  <c:v>0.54764546397593672</c:v>
                </c:pt>
                <c:pt idx="464">
                  <c:v>0.56269105411852527</c:v>
                </c:pt>
                <c:pt idx="465">
                  <c:v>0.55959192521999745</c:v>
                </c:pt>
                <c:pt idx="466">
                  <c:v>0.5662035032685826</c:v>
                </c:pt>
                <c:pt idx="467">
                  <c:v>0.55221339047563589</c:v>
                </c:pt>
                <c:pt idx="468">
                  <c:v>0.57003559418239913</c:v>
                </c:pt>
                <c:pt idx="469">
                  <c:v>0.56508417292902613</c:v>
                </c:pt>
                <c:pt idx="470">
                  <c:v>0.56758251679427296</c:v>
                </c:pt>
                <c:pt idx="471">
                  <c:v>0.55821323284964541</c:v>
                </c:pt>
                <c:pt idx="472">
                  <c:v>0.55815370910415063</c:v>
                </c:pt>
                <c:pt idx="473">
                  <c:v>0.57387844052105863</c:v>
                </c:pt>
                <c:pt idx="474">
                  <c:v>0.54059091150403815</c:v>
                </c:pt>
                <c:pt idx="475">
                  <c:v>0.53812057397744151</c:v>
                </c:pt>
                <c:pt idx="476">
                  <c:v>0.53347867989723485</c:v>
                </c:pt>
                <c:pt idx="477">
                  <c:v>0.50701145127368052</c:v>
                </c:pt>
                <c:pt idx="478">
                  <c:v>0.52446264387942954</c:v>
                </c:pt>
                <c:pt idx="479">
                  <c:v>0.53128049816165146</c:v>
                </c:pt>
                <c:pt idx="480">
                  <c:v>0.54761252344284439</c:v>
                </c:pt>
                <c:pt idx="481">
                  <c:v>0.55921265311231028</c:v>
                </c:pt>
                <c:pt idx="482">
                  <c:v>0.56764300408515789</c:v>
                </c:pt>
                <c:pt idx="483">
                  <c:v>0.56961274751979096</c:v>
                </c:pt>
                <c:pt idx="484">
                  <c:v>0.57002869489788366</c:v>
                </c:pt>
                <c:pt idx="485">
                  <c:v>0.56548079277737306</c:v>
                </c:pt>
                <c:pt idx="486">
                  <c:v>0.59205827329251304</c:v>
                </c:pt>
                <c:pt idx="487">
                  <c:v>0.58896713294908842</c:v>
                </c:pt>
                <c:pt idx="488">
                  <c:v>0.59343070052225544</c:v>
                </c:pt>
                <c:pt idx="489">
                  <c:v>0.59743228304047724</c:v>
                </c:pt>
                <c:pt idx="490">
                  <c:v>0.59446010053465215</c:v>
                </c:pt>
                <c:pt idx="491">
                  <c:v>0.60089821152859102</c:v>
                </c:pt>
                <c:pt idx="492">
                  <c:v>0.59889356678811478</c:v>
                </c:pt>
                <c:pt idx="493">
                  <c:v>0.60566823871995279</c:v>
                </c:pt>
                <c:pt idx="494">
                  <c:v>0.59069586409436092</c:v>
                </c:pt>
                <c:pt idx="495">
                  <c:v>0.590915380123606</c:v>
                </c:pt>
                <c:pt idx="496">
                  <c:v>0.58824105136961813</c:v>
                </c:pt>
                <c:pt idx="497">
                  <c:v>0.60248693830398281</c:v>
                </c:pt>
                <c:pt idx="498">
                  <c:v>0.58712694075164529</c:v>
                </c:pt>
                <c:pt idx="499">
                  <c:v>0.60250508981867013</c:v>
                </c:pt>
                <c:pt idx="500">
                  <c:v>0.61390386877305936</c:v>
                </c:pt>
                <c:pt idx="501">
                  <c:v>0.6105629263743122</c:v>
                </c:pt>
                <c:pt idx="502">
                  <c:v>0.62031037531731492</c:v>
                </c:pt>
                <c:pt idx="503">
                  <c:v>0.62031037531731492</c:v>
                </c:pt>
                <c:pt idx="504">
                  <c:v>0.62031037531731492</c:v>
                </c:pt>
                <c:pt idx="505">
                  <c:v>0.62031037531731492</c:v>
                </c:pt>
                <c:pt idx="506">
                  <c:v>0.62031037531731492</c:v>
                </c:pt>
                <c:pt idx="507">
                  <c:v>0.62031037531731492</c:v>
                </c:pt>
                <c:pt idx="508">
                  <c:v>0.62031037531731492</c:v>
                </c:pt>
              </c:numCache>
            </c:numRef>
          </c:val>
          <c:smooth val="0"/>
          <c:extLst>
            <c:ext xmlns:c16="http://schemas.microsoft.com/office/drawing/2014/chart" uri="{C3380CC4-5D6E-409C-BE32-E72D297353CC}">
              <c16:uniqueId val="{00000007-FEDF-4824-BFB3-214DAB16BA7B}"/>
            </c:ext>
          </c:extLst>
        </c:ser>
        <c:dLbls>
          <c:showLegendKey val="0"/>
          <c:showVal val="0"/>
          <c:showCatName val="0"/>
          <c:showSerName val="0"/>
          <c:showPercent val="0"/>
          <c:showBubbleSize val="0"/>
        </c:dLbls>
        <c:smooth val="0"/>
        <c:axId val="342982127"/>
        <c:axId val="342981647"/>
        <c:extLst>
          <c:ext xmlns:c15="http://schemas.microsoft.com/office/drawing/2012/chart" uri="{02D57815-91ED-43cb-92C2-25804820EDAC}">
            <c15:filteredLineSeries>
              <c15:ser>
                <c:idx val="0"/>
                <c:order val="0"/>
                <c:tx>
                  <c:strRef>
                    <c:extLst>
                      <c:ext uri="{02D57815-91ED-43cb-92C2-25804820EDAC}">
                        <c15:formulaRef>
                          <c15:sqref>Chart!$B$4</c15:sqref>
                        </c15:formulaRef>
                      </c:ext>
                    </c:extLst>
                    <c:strCache>
                      <c:ptCount val="1"/>
                      <c:pt idx="0">
                        <c:v>10/22/1957</c:v>
                      </c:pt>
                    </c:strCache>
                  </c:strRef>
                </c:tx>
                <c:spPr>
                  <a:ln w="28575" cap="rnd">
                    <a:solidFill>
                      <a:schemeClr val="accent1"/>
                    </a:solidFill>
                    <a:round/>
                  </a:ln>
                  <a:effectLst/>
                </c:spPr>
                <c:marker>
                  <c:symbol val="none"/>
                </c:marker>
                <c:cat>
                  <c:numRef>
                    <c:extLst>
                      <c:ext uri="{02D57815-91ED-43cb-92C2-25804820EDAC}">
                        <c15:formulaRef>
                          <c15:sqref>Chart!$A$5:$A$513</c15:sqref>
                        </c15:formulaRef>
                      </c:ext>
                    </c:extLst>
                    <c:numCache>
                      <c:formatCode>General</c:formatCode>
                      <c:ptCount val="50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pt idx="100">
                        <c:v>101</c:v>
                      </c:pt>
                      <c:pt idx="101">
                        <c:v>102</c:v>
                      </c:pt>
                      <c:pt idx="102">
                        <c:v>103</c:v>
                      </c:pt>
                      <c:pt idx="103">
                        <c:v>104</c:v>
                      </c:pt>
                      <c:pt idx="104">
                        <c:v>105</c:v>
                      </c:pt>
                      <c:pt idx="105">
                        <c:v>106</c:v>
                      </c:pt>
                      <c:pt idx="106">
                        <c:v>107</c:v>
                      </c:pt>
                      <c:pt idx="107">
                        <c:v>108</c:v>
                      </c:pt>
                      <c:pt idx="108">
                        <c:v>109</c:v>
                      </c:pt>
                      <c:pt idx="109">
                        <c:v>110</c:v>
                      </c:pt>
                      <c:pt idx="110">
                        <c:v>111</c:v>
                      </c:pt>
                      <c:pt idx="111">
                        <c:v>112</c:v>
                      </c:pt>
                      <c:pt idx="112">
                        <c:v>113</c:v>
                      </c:pt>
                      <c:pt idx="113">
                        <c:v>114</c:v>
                      </c:pt>
                      <c:pt idx="114">
                        <c:v>115</c:v>
                      </c:pt>
                      <c:pt idx="115">
                        <c:v>116</c:v>
                      </c:pt>
                      <c:pt idx="116">
                        <c:v>117</c:v>
                      </c:pt>
                      <c:pt idx="117">
                        <c:v>118</c:v>
                      </c:pt>
                      <c:pt idx="118">
                        <c:v>119</c:v>
                      </c:pt>
                      <c:pt idx="119">
                        <c:v>120</c:v>
                      </c:pt>
                      <c:pt idx="120">
                        <c:v>121</c:v>
                      </c:pt>
                      <c:pt idx="121">
                        <c:v>122</c:v>
                      </c:pt>
                      <c:pt idx="122">
                        <c:v>123</c:v>
                      </c:pt>
                      <c:pt idx="123">
                        <c:v>124</c:v>
                      </c:pt>
                      <c:pt idx="124">
                        <c:v>125</c:v>
                      </c:pt>
                      <c:pt idx="125">
                        <c:v>126</c:v>
                      </c:pt>
                      <c:pt idx="126">
                        <c:v>127</c:v>
                      </c:pt>
                      <c:pt idx="127">
                        <c:v>128</c:v>
                      </c:pt>
                      <c:pt idx="128">
                        <c:v>129</c:v>
                      </c:pt>
                      <c:pt idx="129">
                        <c:v>130</c:v>
                      </c:pt>
                      <c:pt idx="130">
                        <c:v>131</c:v>
                      </c:pt>
                      <c:pt idx="131">
                        <c:v>132</c:v>
                      </c:pt>
                      <c:pt idx="132">
                        <c:v>133</c:v>
                      </c:pt>
                      <c:pt idx="133">
                        <c:v>134</c:v>
                      </c:pt>
                      <c:pt idx="134">
                        <c:v>135</c:v>
                      </c:pt>
                      <c:pt idx="135">
                        <c:v>136</c:v>
                      </c:pt>
                      <c:pt idx="136">
                        <c:v>137</c:v>
                      </c:pt>
                      <c:pt idx="137">
                        <c:v>138</c:v>
                      </c:pt>
                      <c:pt idx="138">
                        <c:v>139</c:v>
                      </c:pt>
                      <c:pt idx="139">
                        <c:v>140</c:v>
                      </c:pt>
                      <c:pt idx="140">
                        <c:v>141</c:v>
                      </c:pt>
                      <c:pt idx="141">
                        <c:v>142</c:v>
                      </c:pt>
                      <c:pt idx="142">
                        <c:v>143</c:v>
                      </c:pt>
                      <c:pt idx="143">
                        <c:v>144</c:v>
                      </c:pt>
                      <c:pt idx="144">
                        <c:v>145</c:v>
                      </c:pt>
                      <c:pt idx="145">
                        <c:v>146</c:v>
                      </c:pt>
                      <c:pt idx="146">
                        <c:v>147</c:v>
                      </c:pt>
                      <c:pt idx="147">
                        <c:v>148</c:v>
                      </c:pt>
                      <c:pt idx="148">
                        <c:v>149</c:v>
                      </c:pt>
                      <c:pt idx="149">
                        <c:v>150</c:v>
                      </c:pt>
                      <c:pt idx="150">
                        <c:v>151</c:v>
                      </c:pt>
                      <c:pt idx="151">
                        <c:v>152</c:v>
                      </c:pt>
                      <c:pt idx="152">
                        <c:v>153</c:v>
                      </c:pt>
                      <c:pt idx="153">
                        <c:v>154</c:v>
                      </c:pt>
                      <c:pt idx="154">
                        <c:v>155</c:v>
                      </c:pt>
                      <c:pt idx="155">
                        <c:v>156</c:v>
                      </c:pt>
                      <c:pt idx="156">
                        <c:v>157</c:v>
                      </c:pt>
                      <c:pt idx="157">
                        <c:v>158</c:v>
                      </c:pt>
                      <c:pt idx="158">
                        <c:v>159</c:v>
                      </c:pt>
                      <c:pt idx="159">
                        <c:v>160</c:v>
                      </c:pt>
                      <c:pt idx="160">
                        <c:v>161</c:v>
                      </c:pt>
                      <c:pt idx="161">
                        <c:v>162</c:v>
                      </c:pt>
                      <c:pt idx="162">
                        <c:v>163</c:v>
                      </c:pt>
                      <c:pt idx="163">
                        <c:v>164</c:v>
                      </c:pt>
                      <c:pt idx="164">
                        <c:v>165</c:v>
                      </c:pt>
                      <c:pt idx="165">
                        <c:v>166</c:v>
                      </c:pt>
                      <c:pt idx="166">
                        <c:v>167</c:v>
                      </c:pt>
                      <c:pt idx="167">
                        <c:v>168</c:v>
                      </c:pt>
                      <c:pt idx="168">
                        <c:v>169</c:v>
                      </c:pt>
                      <c:pt idx="169">
                        <c:v>170</c:v>
                      </c:pt>
                      <c:pt idx="170">
                        <c:v>171</c:v>
                      </c:pt>
                      <c:pt idx="171">
                        <c:v>172</c:v>
                      </c:pt>
                      <c:pt idx="172">
                        <c:v>173</c:v>
                      </c:pt>
                      <c:pt idx="173">
                        <c:v>174</c:v>
                      </c:pt>
                      <c:pt idx="174">
                        <c:v>175</c:v>
                      </c:pt>
                      <c:pt idx="175">
                        <c:v>176</c:v>
                      </c:pt>
                      <c:pt idx="176">
                        <c:v>177</c:v>
                      </c:pt>
                      <c:pt idx="177">
                        <c:v>178</c:v>
                      </c:pt>
                      <c:pt idx="178">
                        <c:v>179</c:v>
                      </c:pt>
                      <c:pt idx="179">
                        <c:v>180</c:v>
                      </c:pt>
                      <c:pt idx="180">
                        <c:v>181</c:v>
                      </c:pt>
                      <c:pt idx="181">
                        <c:v>182</c:v>
                      </c:pt>
                      <c:pt idx="182">
                        <c:v>183</c:v>
                      </c:pt>
                      <c:pt idx="183">
                        <c:v>184</c:v>
                      </c:pt>
                      <c:pt idx="184">
                        <c:v>185</c:v>
                      </c:pt>
                      <c:pt idx="185">
                        <c:v>186</c:v>
                      </c:pt>
                      <c:pt idx="186">
                        <c:v>187</c:v>
                      </c:pt>
                      <c:pt idx="187">
                        <c:v>188</c:v>
                      </c:pt>
                      <c:pt idx="188">
                        <c:v>189</c:v>
                      </c:pt>
                      <c:pt idx="189">
                        <c:v>190</c:v>
                      </c:pt>
                      <c:pt idx="190">
                        <c:v>191</c:v>
                      </c:pt>
                      <c:pt idx="191">
                        <c:v>192</c:v>
                      </c:pt>
                      <c:pt idx="192">
                        <c:v>193</c:v>
                      </c:pt>
                      <c:pt idx="193">
                        <c:v>194</c:v>
                      </c:pt>
                      <c:pt idx="194">
                        <c:v>195</c:v>
                      </c:pt>
                      <c:pt idx="195">
                        <c:v>196</c:v>
                      </c:pt>
                      <c:pt idx="196">
                        <c:v>197</c:v>
                      </c:pt>
                      <c:pt idx="197">
                        <c:v>198</c:v>
                      </c:pt>
                      <c:pt idx="198">
                        <c:v>199</c:v>
                      </c:pt>
                      <c:pt idx="199">
                        <c:v>200</c:v>
                      </c:pt>
                      <c:pt idx="200">
                        <c:v>201</c:v>
                      </c:pt>
                      <c:pt idx="201">
                        <c:v>202</c:v>
                      </c:pt>
                      <c:pt idx="202">
                        <c:v>203</c:v>
                      </c:pt>
                      <c:pt idx="203">
                        <c:v>204</c:v>
                      </c:pt>
                      <c:pt idx="204">
                        <c:v>205</c:v>
                      </c:pt>
                      <c:pt idx="205">
                        <c:v>206</c:v>
                      </c:pt>
                      <c:pt idx="206">
                        <c:v>207</c:v>
                      </c:pt>
                      <c:pt idx="207">
                        <c:v>208</c:v>
                      </c:pt>
                      <c:pt idx="208">
                        <c:v>209</c:v>
                      </c:pt>
                      <c:pt idx="209">
                        <c:v>210</c:v>
                      </c:pt>
                      <c:pt idx="210">
                        <c:v>211</c:v>
                      </c:pt>
                      <c:pt idx="211">
                        <c:v>212</c:v>
                      </c:pt>
                      <c:pt idx="212">
                        <c:v>213</c:v>
                      </c:pt>
                      <c:pt idx="213">
                        <c:v>214</c:v>
                      </c:pt>
                      <c:pt idx="214">
                        <c:v>215</c:v>
                      </c:pt>
                      <c:pt idx="215">
                        <c:v>216</c:v>
                      </c:pt>
                      <c:pt idx="216">
                        <c:v>217</c:v>
                      </c:pt>
                      <c:pt idx="217">
                        <c:v>218</c:v>
                      </c:pt>
                      <c:pt idx="218">
                        <c:v>219</c:v>
                      </c:pt>
                      <c:pt idx="219">
                        <c:v>220</c:v>
                      </c:pt>
                      <c:pt idx="220">
                        <c:v>221</c:v>
                      </c:pt>
                      <c:pt idx="221">
                        <c:v>222</c:v>
                      </c:pt>
                      <c:pt idx="222">
                        <c:v>223</c:v>
                      </c:pt>
                      <c:pt idx="223">
                        <c:v>224</c:v>
                      </c:pt>
                      <c:pt idx="224">
                        <c:v>225</c:v>
                      </c:pt>
                      <c:pt idx="225">
                        <c:v>226</c:v>
                      </c:pt>
                      <c:pt idx="226">
                        <c:v>227</c:v>
                      </c:pt>
                      <c:pt idx="227">
                        <c:v>228</c:v>
                      </c:pt>
                      <c:pt idx="228">
                        <c:v>229</c:v>
                      </c:pt>
                      <c:pt idx="229">
                        <c:v>230</c:v>
                      </c:pt>
                      <c:pt idx="230">
                        <c:v>231</c:v>
                      </c:pt>
                      <c:pt idx="231">
                        <c:v>232</c:v>
                      </c:pt>
                      <c:pt idx="232">
                        <c:v>233</c:v>
                      </c:pt>
                      <c:pt idx="233">
                        <c:v>234</c:v>
                      </c:pt>
                      <c:pt idx="234">
                        <c:v>235</c:v>
                      </c:pt>
                      <c:pt idx="235">
                        <c:v>236</c:v>
                      </c:pt>
                      <c:pt idx="236">
                        <c:v>237</c:v>
                      </c:pt>
                      <c:pt idx="237">
                        <c:v>238</c:v>
                      </c:pt>
                      <c:pt idx="238">
                        <c:v>239</c:v>
                      </c:pt>
                      <c:pt idx="239">
                        <c:v>240</c:v>
                      </c:pt>
                      <c:pt idx="240">
                        <c:v>241</c:v>
                      </c:pt>
                      <c:pt idx="241">
                        <c:v>242</c:v>
                      </c:pt>
                      <c:pt idx="242">
                        <c:v>243</c:v>
                      </c:pt>
                      <c:pt idx="243">
                        <c:v>244</c:v>
                      </c:pt>
                      <c:pt idx="244">
                        <c:v>245</c:v>
                      </c:pt>
                      <c:pt idx="245">
                        <c:v>246</c:v>
                      </c:pt>
                      <c:pt idx="246">
                        <c:v>247</c:v>
                      </c:pt>
                      <c:pt idx="247">
                        <c:v>248</c:v>
                      </c:pt>
                      <c:pt idx="248">
                        <c:v>249</c:v>
                      </c:pt>
                      <c:pt idx="249">
                        <c:v>250</c:v>
                      </c:pt>
                      <c:pt idx="250">
                        <c:v>251</c:v>
                      </c:pt>
                      <c:pt idx="251">
                        <c:v>252</c:v>
                      </c:pt>
                      <c:pt idx="252">
                        <c:v>253</c:v>
                      </c:pt>
                      <c:pt idx="253">
                        <c:v>254</c:v>
                      </c:pt>
                      <c:pt idx="254">
                        <c:v>255</c:v>
                      </c:pt>
                      <c:pt idx="255">
                        <c:v>256</c:v>
                      </c:pt>
                      <c:pt idx="256">
                        <c:v>257</c:v>
                      </c:pt>
                      <c:pt idx="257">
                        <c:v>258</c:v>
                      </c:pt>
                      <c:pt idx="258">
                        <c:v>259</c:v>
                      </c:pt>
                      <c:pt idx="259">
                        <c:v>260</c:v>
                      </c:pt>
                      <c:pt idx="260">
                        <c:v>261</c:v>
                      </c:pt>
                      <c:pt idx="261">
                        <c:v>262</c:v>
                      </c:pt>
                      <c:pt idx="262">
                        <c:v>263</c:v>
                      </c:pt>
                      <c:pt idx="263">
                        <c:v>264</c:v>
                      </c:pt>
                      <c:pt idx="264">
                        <c:v>265</c:v>
                      </c:pt>
                      <c:pt idx="265">
                        <c:v>266</c:v>
                      </c:pt>
                      <c:pt idx="266">
                        <c:v>267</c:v>
                      </c:pt>
                      <c:pt idx="267">
                        <c:v>268</c:v>
                      </c:pt>
                      <c:pt idx="268">
                        <c:v>269</c:v>
                      </c:pt>
                      <c:pt idx="269">
                        <c:v>270</c:v>
                      </c:pt>
                      <c:pt idx="270">
                        <c:v>271</c:v>
                      </c:pt>
                      <c:pt idx="271">
                        <c:v>272</c:v>
                      </c:pt>
                      <c:pt idx="272">
                        <c:v>273</c:v>
                      </c:pt>
                      <c:pt idx="273">
                        <c:v>274</c:v>
                      </c:pt>
                      <c:pt idx="274">
                        <c:v>275</c:v>
                      </c:pt>
                      <c:pt idx="275">
                        <c:v>276</c:v>
                      </c:pt>
                      <c:pt idx="276">
                        <c:v>277</c:v>
                      </c:pt>
                      <c:pt idx="277">
                        <c:v>278</c:v>
                      </c:pt>
                      <c:pt idx="278">
                        <c:v>279</c:v>
                      </c:pt>
                      <c:pt idx="279">
                        <c:v>280</c:v>
                      </c:pt>
                      <c:pt idx="280">
                        <c:v>281</c:v>
                      </c:pt>
                      <c:pt idx="281">
                        <c:v>282</c:v>
                      </c:pt>
                      <c:pt idx="282">
                        <c:v>283</c:v>
                      </c:pt>
                      <c:pt idx="283">
                        <c:v>284</c:v>
                      </c:pt>
                      <c:pt idx="284">
                        <c:v>285</c:v>
                      </c:pt>
                      <c:pt idx="285">
                        <c:v>286</c:v>
                      </c:pt>
                      <c:pt idx="286">
                        <c:v>287</c:v>
                      </c:pt>
                      <c:pt idx="287">
                        <c:v>288</c:v>
                      </c:pt>
                      <c:pt idx="288">
                        <c:v>289</c:v>
                      </c:pt>
                      <c:pt idx="289">
                        <c:v>290</c:v>
                      </c:pt>
                      <c:pt idx="290">
                        <c:v>291</c:v>
                      </c:pt>
                      <c:pt idx="291">
                        <c:v>292</c:v>
                      </c:pt>
                      <c:pt idx="292">
                        <c:v>293</c:v>
                      </c:pt>
                      <c:pt idx="293">
                        <c:v>294</c:v>
                      </c:pt>
                      <c:pt idx="294">
                        <c:v>295</c:v>
                      </c:pt>
                      <c:pt idx="295">
                        <c:v>296</c:v>
                      </c:pt>
                      <c:pt idx="296">
                        <c:v>297</c:v>
                      </c:pt>
                      <c:pt idx="297">
                        <c:v>298</c:v>
                      </c:pt>
                      <c:pt idx="298">
                        <c:v>299</c:v>
                      </c:pt>
                      <c:pt idx="299">
                        <c:v>300</c:v>
                      </c:pt>
                      <c:pt idx="300">
                        <c:v>301</c:v>
                      </c:pt>
                      <c:pt idx="301">
                        <c:v>302</c:v>
                      </c:pt>
                      <c:pt idx="302">
                        <c:v>303</c:v>
                      </c:pt>
                      <c:pt idx="303">
                        <c:v>304</c:v>
                      </c:pt>
                      <c:pt idx="304">
                        <c:v>305</c:v>
                      </c:pt>
                      <c:pt idx="305">
                        <c:v>306</c:v>
                      </c:pt>
                      <c:pt idx="306">
                        <c:v>307</c:v>
                      </c:pt>
                      <c:pt idx="307">
                        <c:v>308</c:v>
                      </c:pt>
                      <c:pt idx="308">
                        <c:v>309</c:v>
                      </c:pt>
                      <c:pt idx="309">
                        <c:v>310</c:v>
                      </c:pt>
                      <c:pt idx="310">
                        <c:v>311</c:v>
                      </c:pt>
                      <c:pt idx="311">
                        <c:v>312</c:v>
                      </c:pt>
                      <c:pt idx="312">
                        <c:v>313</c:v>
                      </c:pt>
                      <c:pt idx="313">
                        <c:v>314</c:v>
                      </c:pt>
                      <c:pt idx="314">
                        <c:v>315</c:v>
                      </c:pt>
                      <c:pt idx="315">
                        <c:v>316</c:v>
                      </c:pt>
                      <c:pt idx="316">
                        <c:v>317</c:v>
                      </c:pt>
                      <c:pt idx="317">
                        <c:v>318</c:v>
                      </c:pt>
                      <c:pt idx="318">
                        <c:v>319</c:v>
                      </c:pt>
                      <c:pt idx="319">
                        <c:v>320</c:v>
                      </c:pt>
                      <c:pt idx="320">
                        <c:v>321</c:v>
                      </c:pt>
                      <c:pt idx="321">
                        <c:v>322</c:v>
                      </c:pt>
                      <c:pt idx="322">
                        <c:v>323</c:v>
                      </c:pt>
                      <c:pt idx="323">
                        <c:v>324</c:v>
                      </c:pt>
                      <c:pt idx="324">
                        <c:v>325</c:v>
                      </c:pt>
                      <c:pt idx="325">
                        <c:v>326</c:v>
                      </c:pt>
                      <c:pt idx="326">
                        <c:v>327</c:v>
                      </c:pt>
                      <c:pt idx="327">
                        <c:v>328</c:v>
                      </c:pt>
                      <c:pt idx="328">
                        <c:v>329</c:v>
                      </c:pt>
                      <c:pt idx="329">
                        <c:v>330</c:v>
                      </c:pt>
                      <c:pt idx="330">
                        <c:v>331</c:v>
                      </c:pt>
                      <c:pt idx="331">
                        <c:v>332</c:v>
                      </c:pt>
                      <c:pt idx="332">
                        <c:v>333</c:v>
                      </c:pt>
                      <c:pt idx="333">
                        <c:v>334</c:v>
                      </c:pt>
                      <c:pt idx="334">
                        <c:v>335</c:v>
                      </c:pt>
                      <c:pt idx="335">
                        <c:v>336</c:v>
                      </c:pt>
                      <c:pt idx="336">
                        <c:v>337</c:v>
                      </c:pt>
                      <c:pt idx="337">
                        <c:v>338</c:v>
                      </c:pt>
                      <c:pt idx="338">
                        <c:v>339</c:v>
                      </c:pt>
                      <c:pt idx="339">
                        <c:v>340</c:v>
                      </c:pt>
                      <c:pt idx="340">
                        <c:v>341</c:v>
                      </c:pt>
                      <c:pt idx="341">
                        <c:v>342</c:v>
                      </c:pt>
                      <c:pt idx="342">
                        <c:v>343</c:v>
                      </c:pt>
                      <c:pt idx="343">
                        <c:v>344</c:v>
                      </c:pt>
                      <c:pt idx="344">
                        <c:v>345</c:v>
                      </c:pt>
                      <c:pt idx="345">
                        <c:v>346</c:v>
                      </c:pt>
                      <c:pt idx="346">
                        <c:v>347</c:v>
                      </c:pt>
                      <c:pt idx="347">
                        <c:v>348</c:v>
                      </c:pt>
                      <c:pt idx="348">
                        <c:v>349</c:v>
                      </c:pt>
                      <c:pt idx="349">
                        <c:v>350</c:v>
                      </c:pt>
                      <c:pt idx="350">
                        <c:v>351</c:v>
                      </c:pt>
                      <c:pt idx="351">
                        <c:v>352</c:v>
                      </c:pt>
                      <c:pt idx="352">
                        <c:v>353</c:v>
                      </c:pt>
                      <c:pt idx="353">
                        <c:v>354</c:v>
                      </c:pt>
                      <c:pt idx="354">
                        <c:v>355</c:v>
                      </c:pt>
                      <c:pt idx="355">
                        <c:v>356</c:v>
                      </c:pt>
                      <c:pt idx="356">
                        <c:v>357</c:v>
                      </c:pt>
                      <c:pt idx="357">
                        <c:v>358</c:v>
                      </c:pt>
                      <c:pt idx="358">
                        <c:v>359</c:v>
                      </c:pt>
                      <c:pt idx="359">
                        <c:v>360</c:v>
                      </c:pt>
                      <c:pt idx="360">
                        <c:v>361</c:v>
                      </c:pt>
                      <c:pt idx="361">
                        <c:v>362</c:v>
                      </c:pt>
                      <c:pt idx="362">
                        <c:v>363</c:v>
                      </c:pt>
                      <c:pt idx="363">
                        <c:v>364</c:v>
                      </c:pt>
                      <c:pt idx="364">
                        <c:v>365</c:v>
                      </c:pt>
                      <c:pt idx="365">
                        <c:v>366</c:v>
                      </c:pt>
                      <c:pt idx="366">
                        <c:v>367</c:v>
                      </c:pt>
                      <c:pt idx="367">
                        <c:v>368</c:v>
                      </c:pt>
                      <c:pt idx="368">
                        <c:v>369</c:v>
                      </c:pt>
                      <c:pt idx="369">
                        <c:v>370</c:v>
                      </c:pt>
                      <c:pt idx="370">
                        <c:v>371</c:v>
                      </c:pt>
                      <c:pt idx="371">
                        <c:v>372</c:v>
                      </c:pt>
                      <c:pt idx="372">
                        <c:v>373</c:v>
                      </c:pt>
                      <c:pt idx="373">
                        <c:v>374</c:v>
                      </c:pt>
                      <c:pt idx="374">
                        <c:v>375</c:v>
                      </c:pt>
                      <c:pt idx="375">
                        <c:v>376</c:v>
                      </c:pt>
                      <c:pt idx="376">
                        <c:v>377</c:v>
                      </c:pt>
                      <c:pt idx="377">
                        <c:v>378</c:v>
                      </c:pt>
                      <c:pt idx="378">
                        <c:v>379</c:v>
                      </c:pt>
                      <c:pt idx="379">
                        <c:v>380</c:v>
                      </c:pt>
                      <c:pt idx="380">
                        <c:v>381</c:v>
                      </c:pt>
                      <c:pt idx="381">
                        <c:v>382</c:v>
                      </c:pt>
                      <c:pt idx="382">
                        <c:v>383</c:v>
                      </c:pt>
                      <c:pt idx="383">
                        <c:v>384</c:v>
                      </c:pt>
                      <c:pt idx="384">
                        <c:v>385</c:v>
                      </c:pt>
                      <c:pt idx="385">
                        <c:v>386</c:v>
                      </c:pt>
                      <c:pt idx="386">
                        <c:v>387</c:v>
                      </c:pt>
                      <c:pt idx="387">
                        <c:v>388</c:v>
                      </c:pt>
                      <c:pt idx="388">
                        <c:v>389</c:v>
                      </c:pt>
                      <c:pt idx="389">
                        <c:v>390</c:v>
                      </c:pt>
                      <c:pt idx="390">
                        <c:v>391</c:v>
                      </c:pt>
                      <c:pt idx="391">
                        <c:v>392</c:v>
                      </c:pt>
                      <c:pt idx="392">
                        <c:v>393</c:v>
                      </c:pt>
                      <c:pt idx="393">
                        <c:v>394</c:v>
                      </c:pt>
                      <c:pt idx="394">
                        <c:v>395</c:v>
                      </c:pt>
                      <c:pt idx="395">
                        <c:v>396</c:v>
                      </c:pt>
                      <c:pt idx="396">
                        <c:v>397</c:v>
                      </c:pt>
                      <c:pt idx="397">
                        <c:v>398</c:v>
                      </c:pt>
                      <c:pt idx="398">
                        <c:v>399</c:v>
                      </c:pt>
                      <c:pt idx="399">
                        <c:v>400</c:v>
                      </c:pt>
                      <c:pt idx="400">
                        <c:v>401</c:v>
                      </c:pt>
                      <c:pt idx="401">
                        <c:v>402</c:v>
                      </c:pt>
                      <c:pt idx="402">
                        <c:v>403</c:v>
                      </c:pt>
                      <c:pt idx="403">
                        <c:v>404</c:v>
                      </c:pt>
                      <c:pt idx="404">
                        <c:v>405</c:v>
                      </c:pt>
                      <c:pt idx="405">
                        <c:v>406</c:v>
                      </c:pt>
                      <c:pt idx="406">
                        <c:v>407</c:v>
                      </c:pt>
                      <c:pt idx="407">
                        <c:v>408</c:v>
                      </c:pt>
                      <c:pt idx="408">
                        <c:v>409</c:v>
                      </c:pt>
                      <c:pt idx="409">
                        <c:v>410</c:v>
                      </c:pt>
                      <c:pt idx="410">
                        <c:v>411</c:v>
                      </c:pt>
                      <c:pt idx="411">
                        <c:v>412</c:v>
                      </c:pt>
                      <c:pt idx="412">
                        <c:v>413</c:v>
                      </c:pt>
                      <c:pt idx="413">
                        <c:v>414</c:v>
                      </c:pt>
                      <c:pt idx="414">
                        <c:v>415</c:v>
                      </c:pt>
                      <c:pt idx="415">
                        <c:v>416</c:v>
                      </c:pt>
                      <c:pt idx="416">
                        <c:v>417</c:v>
                      </c:pt>
                      <c:pt idx="417">
                        <c:v>418</c:v>
                      </c:pt>
                      <c:pt idx="418">
                        <c:v>419</c:v>
                      </c:pt>
                      <c:pt idx="419">
                        <c:v>420</c:v>
                      </c:pt>
                      <c:pt idx="420">
                        <c:v>421</c:v>
                      </c:pt>
                      <c:pt idx="421">
                        <c:v>422</c:v>
                      </c:pt>
                      <c:pt idx="422">
                        <c:v>423</c:v>
                      </c:pt>
                      <c:pt idx="423">
                        <c:v>424</c:v>
                      </c:pt>
                      <c:pt idx="424">
                        <c:v>425</c:v>
                      </c:pt>
                      <c:pt idx="425">
                        <c:v>426</c:v>
                      </c:pt>
                      <c:pt idx="426">
                        <c:v>427</c:v>
                      </c:pt>
                      <c:pt idx="427">
                        <c:v>428</c:v>
                      </c:pt>
                      <c:pt idx="428">
                        <c:v>429</c:v>
                      </c:pt>
                      <c:pt idx="429">
                        <c:v>430</c:v>
                      </c:pt>
                      <c:pt idx="430">
                        <c:v>431</c:v>
                      </c:pt>
                      <c:pt idx="431">
                        <c:v>432</c:v>
                      </c:pt>
                      <c:pt idx="432">
                        <c:v>433</c:v>
                      </c:pt>
                      <c:pt idx="433">
                        <c:v>434</c:v>
                      </c:pt>
                      <c:pt idx="434">
                        <c:v>435</c:v>
                      </c:pt>
                      <c:pt idx="435">
                        <c:v>436</c:v>
                      </c:pt>
                      <c:pt idx="436">
                        <c:v>437</c:v>
                      </c:pt>
                      <c:pt idx="437">
                        <c:v>438</c:v>
                      </c:pt>
                      <c:pt idx="438">
                        <c:v>439</c:v>
                      </c:pt>
                      <c:pt idx="439">
                        <c:v>440</c:v>
                      </c:pt>
                      <c:pt idx="440">
                        <c:v>441</c:v>
                      </c:pt>
                      <c:pt idx="441">
                        <c:v>442</c:v>
                      </c:pt>
                      <c:pt idx="442">
                        <c:v>443</c:v>
                      </c:pt>
                      <c:pt idx="443">
                        <c:v>444</c:v>
                      </c:pt>
                      <c:pt idx="444">
                        <c:v>445</c:v>
                      </c:pt>
                      <c:pt idx="445">
                        <c:v>446</c:v>
                      </c:pt>
                      <c:pt idx="446">
                        <c:v>447</c:v>
                      </c:pt>
                      <c:pt idx="447">
                        <c:v>448</c:v>
                      </c:pt>
                      <c:pt idx="448">
                        <c:v>449</c:v>
                      </c:pt>
                      <c:pt idx="449">
                        <c:v>450</c:v>
                      </c:pt>
                      <c:pt idx="450">
                        <c:v>451</c:v>
                      </c:pt>
                      <c:pt idx="451">
                        <c:v>452</c:v>
                      </c:pt>
                      <c:pt idx="452">
                        <c:v>453</c:v>
                      </c:pt>
                      <c:pt idx="453">
                        <c:v>454</c:v>
                      </c:pt>
                      <c:pt idx="454">
                        <c:v>455</c:v>
                      </c:pt>
                      <c:pt idx="455">
                        <c:v>456</c:v>
                      </c:pt>
                      <c:pt idx="456">
                        <c:v>457</c:v>
                      </c:pt>
                      <c:pt idx="457">
                        <c:v>458</c:v>
                      </c:pt>
                      <c:pt idx="458">
                        <c:v>459</c:v>
                      </c:pt>
                      <c:pt idx="459">
                        <c:v>460</c:v>
                      </c:pt>
                      <c:pt idx="460">
                        <c:v>461</c:v>
                      </c:pt>
                      <c:pt idx="461">
                        <c:v>462</c:v>
                      </c:pt>
                      <c:pt idx="462">
                        <c:v>463</c:v>
                      </c:pt>
                      <c:pt idx="463">
                        <c:v>464</c:v>
                      </c:pt>
                      <c:pt idx="464">
                        <c:v>465</c:v>
                      </c:pt>
                      <c:pt idx="465">
                        <c:v>466</c:v>
                      </c:pt>
                      <c:pt idx="466">
                        <c:v>467</c:v>
                      </c:pt>
                      <c:pt idx="467">
                        <c:v>468</c:v>
                      </c:pt>
                      <c:pt idx="468">
                        <c:v>469</c:v>
                      </c:pt>
                      <c:pt idx="469">
                        <c:v>470</c:v>
                      </c:pt>
                      <c:pt idx="470">
                        <c:v>471</c:v>
                      </c:pt>
                      <c:pt idx="471">
                        <c:v>472</c:v>
                      </c:pt>
                      <c:pt idx="472">
                        <c:v>473</c:v>
                      </c:pt>
                      <c:pt idx="473">
                        <c:v>474</c:v>
                      </c:pt>
                      <c:pt idx="474">
                        <c:v>475</c:v>
                      </c:pt>
                      <c:pt idx="475">
                        <c:v>476</c:v>
                      </c:pt>
                      <c:pt idx="476">
                        <c:v>477</c:v>
                      </c:pt>
                      <c:pt idx="477">
                        <c:v>478</c:v>
                      </c:pt>
                      <c:pt idx="478">
                        <c:v>479</c:v>
                      </c:pt>
                      <c:pt idx="479">
                        <c:v>480</c:v>
                      </c:pt>
                      <c:pt idx="480">
                        <c:v>481</c:v>
                      </c:pt>
                      <c:pt idx="481">
                        <c:v>482</c:v>
                      </c:pt>
                      <c:pt idx="482">
                        <c:v>483</c:v>
                      </c:pt>
                      <c:pt idx="483">
                        <c:v>484</c:v>
                      </c:pt>
                      <c:pt idx="484">
                        <c:v>485</c:v>
                      </c:pt>
                      <c:pt idx="485">
                        <c:v>486</c:v>
                      </c:pt>
                      <c:pt idx="486">
                        <c:v>487</c:v>
                      </c:pt>
                      <c:pt idx="487">
                        <c:v>488</c:v>
                      </c:pt>
                      <c:pt idx="488">
                        <c:v>489</c:v>
                      </c:pt>
                      <c:pt idx="489">
                        <c:v>490</c:v>
                      </c:pt>
                      <c:pt idx="490">
                        <c:v>491</c:v>
                      </c:pt>
                      <c:pt idx="491">
                        <c:v>492</c:v>
                      </c:pt>
                      <c:pt idx="492">
                        <c:v>493</c:v>
                      </c:pt>
                      <c:pt idx="493">
                        <c:v>494</c:v>
                      </c:pt>
                      <c:pt idx="494">
                        <c:v>495</c:v>
                      </c:pt>
                      <c:pt idx="495">
                        <c:v>496</c:v>
                      </c:pt>
                      <c:pt idx="496">
                        <c:v>497</c:v>
                      </c:pt>
                      <c:pt idx="497">
                        <c:v>498</c:v>
                      </c:pt>
                      <c:pt idx="498">
                        <c:v>499</c:v>
                      </c:pt>
                      <c:pt idx="499">
                        <c:v>500</c:v>
                      </c:pt>
                      <c:pt idx="500">
                        <c:v>501</c:v>
                      </c:pt>
                      <c:pt idx="501">
                        <c:v>502</c:v>
                      </c:pt>
                      <c:pt idx="502">
                        <c:v>503</c:v>
                      </c:pt>
                      <c:pt idx="503">
                        <c:v>504</c:v>
                      </c:pt>
                      <c:pt idx="504">
                        <c:v>505</c:v>
                      </c:pt>
                      <c:pt idx="505">
                        <c:v>506</c:v>
                      </c:pt>
                      <c:pt idx="506">
                        <c:v>507</c:v>
                      </c:pt>
                      <c:pt idx="507">
                        <c:v>508</c:v>
                      </c:pt>
                      <c:pt idx="508">
                        <c:v>509</c:v>
                      </c:pt>
                    </c:numCache>
                  </c:numRef>
                </c:cat>
                <c:val>
                  <c:numRef>
                    <c:extLst>
                      <c:ext uri="{02D57815-91ED-43cb-92C2-25804820EDAC}">
                        <c15:formulaRef>
                          <c15:sqref>Chart!$B$5:$B$513</c15:sqref>
                        </c15:formulaRef>
                      </c:ext>
                    </c:extLst>
                    <c:numCache>
                      <c:formatCode>0%</c:formatCode>
                      <c:ptCount val="509"/>
                      <c:pt idx="0">
                        <c:v>-4.3423000000000003E-3</c:v>
                      </c:pt>
                      <c:pt idx="1">
                        <c:v>4.0357553309960048E-2</c:v>
                      </c:pt>
                      <c:pt idx="2">
                        <c:v>3.9846737751284778E-2</c:v>
                      </c:pt>
                      <c:pt idx="3">
                        <c:v>3.6781581522415285E-2</c:v>
                      </c:pt>
                      <c:pt idx="4">
                        <c:v>3.2439332902683082E-2</c:v>
                      </c:pt>
                      <c:pt idx="5">
                        <c:v>3.9335924402539746E-2</c:v>
                      </c:pt>
                      <c:pt idx="6">
                        <c:v>4.7765042683036718E-2</c:v>
                      </c:pt>
                      <c:pt idx="7">
                        <c:v>4.8786718376157001E-2</c:v>
                      </c:pt>
                      <c:pt idx="8">
                        <c:v>3.2950143807348731E-2</c:v>
                      </c:pt>
                      <c:pt idx="9">
                        <c:v>3.1162107108418269E-2</c:v>
                      </c:pt>
                      <c:pt idx="10">
                        <c:v>3.269472334821355E-2</c:v>
                      </c:pt>
                      <c:pt idx="11">
                        <c:v>3.8825005764953291E-2</c:v>
                      </c:pt>
                      <c:pt idx="12">
                        <c:v>2.6564481399413475E-2</c:v>
                      </c:pt>
                      <c:pt idx="13">
                        <c:v>2.6309072156441182E-2</c:v>
                      </c:pt>
                      <c:pt idx="14">
                        <c:v>1.1494300699862903E-2</c:v>
                      </c:pt>
                      <c:pt idx="15">
                        <c:v>1.0217187995799293E-2</c:v>
                      </c:pt>
                      <c:pt idx="16">
                        <c:v>7.4074709308264985E-3</c:v>
                      </c:pt>
                      <c:pt idx="17">
                        <c:v>3.116223983612243E-2</c:v>
                      </c:pt>
                      <c:pt idx="18">
                        <c:v>2.2733107222806082E-2</c:v>
                      </c:pt>
                      <c:pt idx="19">
                        <c:v>1.6858221434986165E-2</c:v>
                      </c:pt>
                      <c:pt idx="20">
                        <c:v>1.9667902386633074E-2</c:v>
                      </c:pt>
                      <c:pt idx="21">
                        <c:v>3.3971905688102932E-2</c:v>
                      </c:pt>
                      <c:pt idx="22">
                        <c:v>4.3933604616264388E-2</c:v>
                      </c:pt>
                      <c:pt idx="23">
                        <c:v>5.1851841007278798E-2</c:v>
                      </c:pt>
                      <c:pt idx="24">
                        <c:v>2.4010164257288968E-2</c:v>
                      </c:pt>
                      <c:pt idx="25">
                        <c:v>5.3639795959057324E-2</c:v>
                      </c:pt>
                      <c:pt idx="26">
                        <c:v>6.5644862430235262E-2</c:v>
                      </c:pt>
                      <c:pt idx="27">
                        <c:v>5.6449412912324748E-2</c:v>
                      </c:pt>
                      <c:pt idx="28">
                        <c:v>5.6704862380366983E-2</c:v>
                      </c:pt>
                      <c:pt idx="29">
                        <c:v>6.1047179671346763E-2</c:v>
                      </c:pt>
                      <c:pt idx="30">
                        <c:v>6.0536285454334982E-2</c:v>
                      </c:pt>
                      <c:pt idx="31">
                        <c:v>5.5172305029764113E-2</c:v>
                      </c:pt>
                      <c:pt idx="32">
                        <c:v>4.5210634332438993E-2</c:v>
                      </c:pt>
                      <c:pt idx="33">
                        <c:v>3.6015184734772498E-2</c:v>
                      </c:pt>
                      <c:pt idx="34">
                        <c:v>3.473808881655005E-2</c:v>
                      </c:pt>
                      <c:pt idx="35">
                        <c:v>3.5759789205447534E-2</c:v>
                      </c:pt>
                      <c:pt idx="36">
                        <c:v>4.035752690973049E-2</c:v>
                      </c:pt>
                      <c:pt idx="37">
                        <c:v>2.4776404336461555E-2</c:v>
                      </c:pt>
                      <c:pt idx="38">
                        <c:v>6.8964130665203349E-3</c:v>
                      </c:pt>
                      <c:pt idx="39">
                        <c:v>5.8747152761817745E-3</c:v>
                      </c:pt>
                      <c:pt idx="40">
                        <c:v>1.6602670877016834E-2</c:v>
                      </c:pt>
                      <c:pt idx="41">
                        <c:v>8.42898208263132E-3</c:v>
                      </c:pt>
                      <c:pt idx="42">
                        <c:v>8.42898208263132E-3</c:v>
                      </c:pt>
                      <c:pt idx="43">
                        <c:v>9.4507223272775054E-3</c:v>
                      </c:pt>
                      <c:pt idx="44">
                        <c:v>1.9667877813313028E-2</c:v>
                      </c:pt>
                      <c:pt idx="45">
                        <c:v>1.6091902565821714E-2</c:v>
                      </c:pt>
                      <c:pt idx="46">
                        <c:v>1.098329730729164E-2</c:v>
                      </c:pt>
                      <c:pt idx="47">
                        <c:v>2.1455871087438405E-2</c:v>
                      </c:pt>
                      <c:pt idx="48">
                        <c:v>3.0140391049011006E-2</c:v>
                      </c:pt>
                      <c:pt idx="49">
                        <c:v>4.3933455814961775E-2</c:v>
                      </c:pt>
                      <c:pt idx="50">
                        <c:v>3.9080313572223746E-2</c:v>
                      </c:pt>
                      <c:pt idx="51">
                        <c:v>4.7254031042877065E-2</c:v>
                      </c:pt>
                      <c:pt idx="52">
                        <c:v>4.6998605784705827E-2</c:v>
                      </c:pt>
                      <c:pt idx="53">
                        <c:v>4.0868324247975707E-2</c:v>
                      </c:pt>
                      <c:pt idx="54">
                        <c:v>3.1162018950698478E-2</c:v>
                      </c:pt>
                      <c:pt idx="55">
                        <c:v>3.4227148052029532E-2</c:v>
                      </c:pt>
                      <c:pt idx="56">
                        <c:v>3.8824804838694993E-2</c:v>
                      </c:pt>
                      <c:pt idx="57">
                        <c:v>4.6998486168126963E-2</c:v>
                      </c:pt>
                      <c:pt idx="58">
                        <c:v>4.8786445482956298E-2</c:v>
                      </c:pt>
                      <c:pt idx="59">
                        <c:v>4.9808173238145681E-2</c:v>
                      </c:pt>
                      <c:pt idx="60">
                        <c:v>5.6193841413501477E-2</c:v>
                      </c:pt>
                      <c:pt idx="61">
                        <c:v>5.4916691820464214E-2</c:v>
                      </c:pt>
                      <c:pt idx="62">
                        <c:v>5.2362422034559319E-2</c:v>
                      </c:pt>
                      <c:pt idx="63">
                        <c:v>5.6449271500530473E-2</c:v>
                      </c:pt>
                      <c:pt idx="64">
                        <c:v>6.5389262170749252E-2</c:v>
                      </c:pt>
                      <c:pt idx="65">
                        <c:v>6.2324137263483959E-2</c:v>
                      </c:pt>
                      <c:pt idx="66">
                        <c:v>6.3345880618703942E-2</c:v>
                      </c:pt>
                      <c:pt idx="67">
                        <c:v>6.9731591635583401E-2</c:v>
                      </c:pt>
                      <c:pt idx="68">
                        <c:v>6.4623088419727637E-2</c:v>
                      </c:pt>
                      <c:pt idx="69">
                        <c:v>6.5133894577551255E-2</c:v>
                      </c:pt>
                      <c:pt idx="70">
                        <c:v>7.3818463786989197E-2</c:v>
                      </c:pt>
                      <c:pt idx="71">
                        <c:v>8.454644714945303E-2</c:v>
                      </c:pt>
                      <c:pt idx="72">
                        <c:v>7.7649924746674426E-2</c:v>
                      </c:pt>
                      <c:pt idx="73">
                        <c:v>7.5351081927204966E-2</c:v>
                      </c:pt>
                      <c:pt idx="74">
                        <c:v>6.590025140857958E-2</c:v>
                      </c:pt>
                      <c:pt idx="75">
                        <c:v>5.9514549592415866E-2</c:v>
                      </c:pt>
                      <c:pt idx="76">
                        <c:v>5.0063679810051553E-2</c:v>
                      </c:pt>
                      <c:pt idx="77">
                        <c:v>4.5465975988003393E-2</c:v>
                      </c:pt>
                      <c:pt idx="78">
                        <c:v>4.5721383325937337E-2</c:v>
                      </c:pt>
                      <c:pt idx="79">
                        <c:v>5.568302979563855E-2</c:v>
                      </c:pt>
                      <c:pt idx="80">
                        <c:v>5.0063629028036294E-2</c:v>
                      </c:pt>
                      <c:pt idx="81">
                        <c:v>5.1596196894602597E-2</c:v>
                      </c:pt>
                      <c:pt idx="82">
                        <c:v>5.1085331462151329E-2</c:v>
                      </c:pt>
                      <c:pt idx="83">
                        <c:v>4.495508648346469E-2</c:v>
                      </c:pt>
                      <c:pt idx="84">
                        <c:v>4.4188820918546368E-2</c:v>
                      </c:pt>
                      <c:pt idx="85">
                        <c:v>3.8314005774294335E-2</c:v>
                      </c:pt>
                      <c:pt idx="86">
                        <c:v>3.7292304792612363E-2</c:v>
                      </c:pt>
                      <c:pt idx="87">
                        <c:v>4.5210579330477119E-2</c:v>
                      </c:pt>
                      <c:pt idx="88">
                        <c:v>3.9080314761646084E-2</c:v>
                      </c:pt>
                      <c:pt idx="89">
                        <c:v>4.3167121547635245E-2</c:v>
                      </c:pt>
                      <c:pt idx="90">
                        <c:v>5.0574546961032807E-2</c:v>
                      </c:pt>
                      <c:pt idx="91">
                        <c:v>5.6193965155272751E-2</c:v>
                      </c:pt>
                      <c:pt idx="92">
                        <c:v>5.9259145661549883E-2</c:v>
                      </c:pt>
                      <c:pt idx="93">
                        <c:v>7.2796795320848151E-2</c:v>
                      </c:pt>
                      <c:pt idx="94">
                        <c:v>7.4584825739609339E-2</c:v>
                      </c:pt>
                      <c:pt idx="95">
                        <c:v>7.8160829122705833E-2</c:v>
                      </c:pt>
                      <c:pt idx="96">
                        <c:v>8.582364158352962E-2</c:v>
                      </c:pt>
                      <c:pt idx="97">
                        <c:v>8.3269350049068436E-2</c:v>
                      </c:pt>
                      <c:pt idx="98">
                        <c:v>8.4546524612776341E-2</c:v>
                      </c:pt>
                      <c:pt idx="99">
                        <c:v>8.1225968518369385E-2</c:v>
                      </c:pt>
                      <c:pt idx="100">
                        <c:v>7.3818597530646901E-2</c:v>
                      </c:pt>
                      <c:pt idx="101">
                        <c:v>6.998721277465747E-2</c:v>
                      </c:pt>
                      <c:pt idx="102">
                        <c:v>7.5095759723328825E-2</c:v>
                      </c:pt>
                      <c:pt idx="103">
                        <c:v>7.5606645228349256E-2</c:v>
                      </c:pt>
                      <c:pt idx="104">
                        <c:v>8.3524938668526616E-2</c:v>
                      </c:pt>
                      <c:pt idx="105">
                        <c:v>8.7611778032196552E-2</c:v>
                      </c:pt>
                      <c:pt idx="106">
                        <c:v>8.4035819267204381E-2</c:v>
                      </c:pt>
                      <c:pt idx="107">
                        <c:v>8.0459801906605621E-2</c:v>
                      </c:pt>
                      <c:pt idx="108">
                        <c:v>7.7139224797406092E-2</c:v>
                      </c:pt>
                      <c:pt idx="109">
                        <c:v>7.7905501641926778E-2</c:v>
                      </c:pt>
                      <c:pt idx="110">
                        <c:v>7.5351188974685845E-2</c:v>
                      </c:pt>
                      <c:pt idx="111">
                        <c:v>7.1008920873605996E-2</c:v>
                      </c:pt>
                      <c:pt idx="112">
                        <c:v>6.2579759363654563E-2</c:v>
                      </c:pt>
                      <c:pt idx="113">
                        <c:v>5.9514641789794043E-2</c:v>
                      </c:pt>
                      <c:pt idx="114">
                        <c:v>5.5683224942153942E-2</c:v>
                      </c:pt>
                      <c:pt idx="115">
                        <c:v>6.3346007198718857E-2</c:v>
                      </c:pt>
                      <c:pt idx="116">
                        <c:v>6.3856838620577117E-2</c:v>
                      </c:pt>
                      <c:pt idx="117">
                        <c:v>6.5133998755340983E-2</c:v>
                      </c:pt>
                      <c:pt idx="118">
                        <c:v>6.6155675286947213E-2</c:v>
                      </c:pt>
                      <c:pt idx="119">
                        <c:v>7.2796758988309618E-2</c:v>
                      </c:pt>
                      <c:pt idx="120">
                        <c:v>8.3780159486507966E-2</c:v>
                      </c:pt>
                      <c:pt idx="121">
                        <c:v>7.5351059296101752E-2</c:v>
                      </c:pt>
                      <c:pt idx="122">
                        <c:v>7.9182427585267723E-2</c:v>
                      </c:pt>
                      <c:pt idx="123">
                        <c:v>9.0932134183845159E-2</c:v>
                      </c:pt>
                      <c:pt idx="124">
                        <c:v>9.6551525607025956E-2</c:v>
                      </c:pt>
                      <c:pt idx="125">
                        <c:v>9.3230948277182701E-2</c:v>
                      </c:pt>
                      <c:pt idx="126">
                        <c:v>9.3230948277182701E-2</c:v>
                      </c:pt>
                      <c:pt idx="127">
                        <c:v>0.10191546560720166</c:v>
                      </c:pt>
                      <c:pt idx="128">
                        <c:v>0.1075349039071587</c:v>
                      </c:pt>
                      <c:pt idx="129">
                        <c:v>0.10395889520942325</c:v>
                      </c:pt>
                      <c:pt idx="130">
                        <c:v>9.833952364102827E-2</c:v>
                      </c:pt>
                      <c:pt idx="131">
                        <c:v>0.10957839265063729</c:v>
                      </c:pt>
                      <c:pt idx="132">
                        <c:v>0.1121326421105191</c:v>
                      </c:pt>
                      <c:pt idx="133">
                        <c:v>0.1159640502758541</c:v>
                      </c:pt>
                      <c:pt idx="134">
                        <c:v>0.11851838039053053</c:v>
                      </c:pt>
                      <c:pt idx="135">
                        <c:v>0.12413781673361246</c:v>
                      </c:pt>
                      <c:pt idx="136">
                        <c:v>0.12209435901035404</c:v>
                      </c:pt>
                      <c:pt idx="137">
                        <c:v>0.12362691548589044</c:v>
                      </c:pt>
                      <c:pt idx="138">
                        <c:v>0.12388231588378029</c:v>
                      </c:pt>
                      <c:pt idx="139">
                        <c:v>0.11749664134139182</c:v>
                      </c:pt>
                      <c:pt idx="140">
                        <c:v>0.11417611182131004</c:v>
                      </c:pt>
                      <c:pt idx="141">
                        <c:v>0.10140475672194715</c:v>
                      </c:pt>
                      <c:pt idx="142">
                        <c:v>0.10702412379074255</c:v>
                      </c:pt>
                      <c:pt idx="143">
                        <c:v>0.10753501542387189</c:v>
                      </c:pt>
                      <c:pt idx="144">
                        <c:v>0.10446991226868629</c:v>
                      </c:pt>
                      <c:pt idx="145">
                        <c:v>0.1139207508609783</c:v>
                      </c:pt>
                      <c:pt idx="146">
                        <c:v>0.11238821869194382</c:v>
                      </c:pt>
                      <c:pt idx="147">
                        <c:v>0.11826307459132157</c:v>
                      </c:pt>
                      <c:pt idx="148">
                        <c:v>0.12056188799375911</c:v>
                      </c:pt>
                      <c:pt idx="149">
                        <c:v>0.12005102382902288</c:v>
                      </c:pt>
                      <c:pt idx="150">
                        <c:v>0.11851845801311756</c:v>
                      </c:pt>
                      <c:pt idx="151">
                        <c:v>0.12005105200428701</c:v>
                      </c:pt>
                      <c:pt idx="152">
                        <c:v>0.12618131542211675</c:v>
                      </c:pt>
                      <c:pt idx="153">
                        <c:v>0.13180073494981004</c:v>
                      </c:pt>
                      <c:pt idx="154">
                        <c:v>0.13563210679776216</c:v>
                      </c:pt>
                      <c:pt idx="155">
                        <c:v>0.1366538350042481</c:v>
                      </c:pt>
                      <c:pt idx="156">
                        <c:v>0.13793097925325881</c:v>
                      </c:pt>
                      <c:pt idx="157">
                        <c:v>0.14022982741754619</c:v>
                      </c:pt>
                      <c:pt idx="158">
                        <c:v>0.13844183302517288</c:v>
                      </c:pt>
                      <c:pt idx="159">
                        <c:v>0.1361429774317453</c:v>
                      </c:pt>
                      <c:pt idx="160">
                        <c:v>0.13639838237307189</c:v>
                      </c:pt>
                      <c:pt idx="161">
                        <c:v>0.14303949451966003</c:v>
                      </c:pt>
                      <c:pt idx="162">
                        <c:v>0.14993602330984435</c:v>
                      </c:pt>
                      <c:pt idx="163">
                        <c:v>0.15402289593668761</c:v>
                      </c:pt>
                      <c:pt idx="164">
                        <c:v>0.14789261091118222</c:v>
                      </c:pt>
                      <c:pt idx="165">
                        <c:v>0.15810977346238042</c:v>
                      </c:pt>
                      <c:pt idx="166">
                        <c:v>0.1394635112437721</c:v>
                      </c:pt>
                      <c:pt idx="167">
                        <c:v>0.14559382493426343</c:v>
                      </c:pt>
                      <c:pt idx="168">
                        <c:v>0.14150703352319294</c:v>
                      </c:pt>
                      <c:pt idx="169">
                        <c:v>0.1371647407676706</c:v>
                      </c:pt>
                      <c:pt idx="170">
                        <c:v>0.13997444740915932</c:v>
                      </c:pt>
                      <c:pt idx="171">
                        <c:v>0.14533848317399833</c:v>
                      </c:pt>
                      <c:pt idx="172">
                        <c:v>0.14687106059833344</c:v>
                      </c:pt>
                      <c:pt idx="173">
                        <c:v>0.15555562701760817</c:v>
                      </c:pt>
                      <c:pt idx="174">
                        <c:v>0.15657736930301724</c:v>
                      </c:pt>
                      <c:pt idx="175">
                        <c:v>0.15759908975105952</c:v>
                      </c:pt>
                      <c:pt idx="176">
                        <c:v>0.16143051121831764</c:v>
                      </c:pt>
                      <c:pt idx="177">
                        <c:v>0.16526195433177593</c:v>
                      </c:pt>
                      <c:pt idx="178">
                        <c:v>0.15964259508320633</c:v>
                      </c:pt>
                      <c:pt idx="179">
                        <c:v>0.15581113594905149</c:v>
                      </c:pt>
                      <c:pt idx="180">
                        <c:v>0.16015340280569834</c:v>
                      </c:pt>
                      <c:pt idx="181">
                        <c:v>0.16781621603122998</c:v>
                      </c:pt>
                      <c:pt idx="182">
                        <c:v>0.15300141629627939</c:v>
                      </c:pt>
                      <c:pt idx="183">
                        <c:v>0.15223513155500878</c:v>
                      </c:pt>
                      <c:pt idx="184">
                        <c:v>0.15581109328578968</c:v>
                      </c:pt>
                      <c:pt idx="185">
                        <c:v>0.16347388967205578</c:v>
                      </c:pt>
                      <c:pt idx="186">
                        <c:v>0.16909335221178301</c:v>
                      </c:pt>
                      <c:pt idx="187">
                        <c:v>0.18339732628542937</c:v>
                      </c:pt>
                      <c:pt idx="188">
                        <c:v>0.18544069844872646</c:v>
                      </c:pt>
                      <c:pt idx="189">
                        <c:v>0.18518523597821068</c:v>
                      </c:pt>
                      <c:pt idx="190">
                        <c:v>0.19157089551113748</c:v>
                      </c:pt>
                      <c:pt idx="191">
                        <c:v>0.19974459522598575</c:v>
                      </c:pt>
                      <c:pt idx="192">
                        <c:v>0.20434225646381066</c:v>
                      </c:pt>
                      <c:pt idx="193">
                        <c:v>0.19948911847293838</c:v>
                      </c:pt>
                      <c:pt idx="194">
                        <c:v>0.20280966419960711</c:v>
                      </c:pt>
                      <c:pt idx="195">
                        <c:v>0.20536395080250136</c:v>
                      </c:pt>
                      <c:pt idx="196">
                        <c:v>0.21302681104693799</c:v>
                      </c:pt>
                      <c:pt idx="197">
                        <c:v>0.2245210892003755</c:v>
                      </c:pt>
                      <c:pt idx="198">
                        <c:v>0.21966794476754758</c:v>
                      </c:pt>
                      <c:pt idx="199">
                        <c:v>0.21226053543859091</c:v>
                      </c:pt>
                      <c:pt idx="200">
                        <c:v>0.22017877880396886</c:v>
                      </c:pt>
                      <c:pt idx="201">
                        <c:v>0.22733073469805043</c:v>
                      </c:pt>
                      <c:pt idx="202">
                        <c:v>0.23065127800077612</c:v>
                      </c:pt>
                      <c:pt idx="203">
                        <c:v>0.21915699506424891</c:v>
                      </c:pt>
                      <c:pt idx="204">
                        <c:v>0.22120042410367624</c:v>
                      </c:pt>
                      <c:pt idx="205">
                        <c:v>0.22375468691073142</c:v>
                      </c:pt>
                      <c:pt idx="206">
                        <c:v>0.21328216142655543</c:v>
                      </c:pt>
                      <c:pt idx="207">
                        <c:v>0.20613022706959439</c:v>
                      </c:pt>
                      <c:pt idx="208">
                        <c:v>0.20817365290029577</c:v>
                      </c:pt>
                      <c:pt idx="209">
                        <c:v>0.20868446872074187</c:v>
                      </c:pt>
                      <c:pt idx="210">
                        <c:v>0.21660268154377826</c:v>
                      </c:pt>
                      <c:pt idx="211">
                        <c:v>0.21915693887367937</c:v>
                      </c:pt>
                      <c:pt idx="212">
                        <c:v>0.21941235225237343</c:v>
                      </c:pt>
                      <c:pt idx="213">
                        <c:v>0.2234992127509472</c:v>
                      </c:pt>
                      <c:pt idx="214">
                        <c:v>0.22375467938656968</c:v>
                      </c:pt>
                      <c:pt idx="215">
                        <c:v>0.21736900509406265</c:v>
                      </c:pt>
                      <c:pt idx="216">
                        <c:v>0.21966788472328225</c:v>
                      </c:pt>
                      <c:pt idx="217">
                        <c:v>0.22605357790053948</c:v>
                      </c:pt>
                      <c:pt idx="218">
                        <c:v>0.23065127881766645</c:v>
                      </c:pt>
                      <c:pt idx="219">
                        <c:v>0.22860790543431753</c:v>
                      </c:pt>
                      <c:pt idx="220">
                        <c:v>0.22528734684830032</c:v>
                      </c:pt>
                      <c:pt idx="221">
                        <c:v>0.22937417026497831</c:v>
                      </c:pt>
                      <c:pt idx="222">
                        <c:v>0.23780325132598312</c:v>
                      </c:pt>
                      <c:pt idx="223">
                        <c:v>0.23397187892215388</c:v>
                      </c:pt>
                      <c:pt idx="224">
                        <c:v>0.24240101742988318</c:v>
                      </c:pt>
                      <c:pt idx="225">
                        <c:v>0.23959132752896539</c:v>
                      </c:pt>
                      <c:pt idx="226">
                        <c:v>0.25057472648653567</c:v>
                      </c:pt>
                      <c:pt idx="227">
                        <c:v>0.26053642958530943</c:v>
                      </c:pt>
                      <c:pt idx="228">
                        <c:v>0.26002553417039853</c:v>
                      </c:pt>
                      <c:pt idx="229">
                        <c:v>0.25363985076577644</c:v>
                      </c:pt>
                      <c:pt idx="230">
                        <c:v>0.26181358259276943</c:v>
                      </c:pt>
                      <c:pt idx="231">
                        <c:v>0.25670500412228447</c:v>
                      </c:pt>
                      <c:pt idx="232">
                        <c:v>0.26590044030794768</c:v>
                      </c:pt>
                      <c:pt idx="233">
                        <c:v>0.27151989895251849</c:v>
                      </c:pt>
                      <c:pt idx="234">
                        <c:v>0.26615586510679745</c:v>
                      </c:pt>
                      <c:pt idx="235">
                        <c:v>0.26845469769548536</c:v>
                      </c:pt>
                      <c:pt idx="236">
                        <c:v>0.27381873892109998</c:v>
                      </c:pt>
                      <c:pt idx="237">
                        <c:v>0.27867186093451557</c:v>
                      </c:pt>
                      <c:pt idx="238">
                        <c:v>0.2766284154335561</c:v>
                      </c:pt>
                      <c:pt idx="239">
                        <c:v>0.28148151835482671</c:v>
                      </c:pt>
                      <c:pt idx="240">
                        <c:v>0.28659001627959646</c:v>
                      </c:pt>
                      <c:pt idx="241">
                        <c:v>0.29450833453478942</c:v>
                      </c:pt>
                      <c:pt idx="242">
                        <c:v>0.30191577012666415</c:v>
                      </c:pt>
                      <c:pt idx="243">
                        <c:v>0.30421456280197678</c:v>
                      </c:pt>
                      <c:pt idx="244">
                        <c:v>0.30395919759058021</c:v>
                      </c:pt>
                      <c:pt idx="245">
                        <c:v>0.31264369624245325</c:v>
                      </c:pt>
                      <c:pt idx="246">
                        <c:v>0.31851856436935577</c:v>
                      </c:pt>
                      <c:pt idx="247">
                        <c:v>0.30932321590144385</c:v>
                      </c:pt>
                      <c:pt idx="248">
                        <c:v>0.29195412691625999</c:v>
                      </c:pt>
                      <c:pt idx="249">
                        <c:v>0.30114948121917395</c:v>
                      </c:pt>
                      <c:pt idx="250">
                        <c:v>0.31443174523840756</c:v>
                      </c:pt>
                      <c:pt idx="251">
                        <c:v>0.30957860034863827</c:v>
                      </c:pt>
                      <c:pt idx="252">
                        <c:v>0.30957860034863827</c:v>
                      </c:pt>
                      <c:pt idx="253">
                        <c:v>0.30447006518653819</c:v>
                      </c:pt>
                      <c:pt idx="254">
                        <c:v>0.30191578235189653</c:v>
                      </c:pt>
                      <c:pt idx="255">
                        <c:v>0.29782893851951586</c:v>
                      </c:pt>
                      <c:pt idx="256">
                        <c:v>0.28786719293612162</c:v>
                      </c:pt>
                      <c:pt idx="257">
                        <c:v>0.29272026287926267</c:v>
                      </c:pt>
                      <c:pt idx="258">
                        <c:v>0.30753509563591153</c:v>
                      </c:pt>
                      <c:pt idx="259">
                        <c:v>0.30957851148337134</c:v>
                      </c:pt>
                      <c:pt idx="260">
                        <c:v>0.31111111121536039</c:v>
                      </c:pt>
                      <c:pt idx="261">
                        <c:v>0.31698593788249418</c:v>
                      </c:pt>
                      <c:pt idx="262">
                        <c:v>0.32899105489785563</c:v>
                      </c:pt>
                      <c:pt idx="263">
                        <c:v>0.3397190693903076</c:v>
                      </c:pt>
                      <c:pt idx="264">
                        <c:v>0.3348659370614413</c:v>
                      </c:pt>
                      <c:pt idx="265">
                        <c:v>0.34278422831349609</c:v>
                      </c:pt>
                      <c:pt idx="266">
                        <c:v>0.35325673678853575</c:v>
                      </c:pt>
                      <c:pt idx="267">
                        <c:v>0.35504479491485452</c:v>
                      </c:pt>
                      <c:pt idx="268">
                        <c:v>0.3494254241503425</c:v>
                      </c:pt>
                      <c:pt idx="269">
                        <c:v>0.35606648643275585</c:v>
                      </c:pt>
                      <c:pt idx="270">
                        <c:v>0.359897916683523</c:v>
                      </c:pt>
                      <c:pt idx="271">
                        <c:v>0.35708823159786318</c:v>
                      </c:pt>
                      <c:pt idx="272">
                        <c:v>0.35887619534299353</c:v>
                      </c:pt>
                      <c:pt idx="273">
                        <c:v>0.35913166406771801</c:v>
                      </c:pt>
                      <c:pt idx="274">
                        <c:v>0.34610479480712808</c:v>
                      </c:pt>
                      <c:pt idx="275">
                        <c:v>0.31111118534036297</c:v>
                      </c:pt>
                      <c:pt idx="276">
                        <c:v>0.3031928604476184</c:v>
                      </c:pt>
                      <c:pt idx="277">
                        <c:v>0.32567046122390497</c:v>
                      </c:pt>
                      <c:pt idx="278">
                        <c:v>0.34048522632922062</c:v>
                      </c:pt>
                      <c:pt idx="279">
                        <c:v>0.34584917796237691</c:v>
                      </c:pt>
                      <c:pt idx="280">
                        <c:v>0.33997427713073569</c:v>
                      </c:pt>
                      <c:pt idx="281">
                        <c:v>0.341762204808711</c:v>
                      </c:pt>
                      <c:pt idx="282">
                        <c:v>0.34227301368008178</c:v>
                      </c:pt>
                      <c:pt idx="283">
                        <c:v>0.33997410268955197</c:v>
                      </c:pt>
                      <c:pt idx="284">
                        <c:v>0.34150663107079815</c:v>
                      </c:pt>
                      <c:pt idx="285">
                        <c:v>0.34916945109813757</c:v>
                      </c:pt>
                      <c:pt idx="286">
                        <c:v>0.36551679766931322</c:v>
                      </c:pt>
                      <c:pt idx="287">
                        <c:v>0.36270711030642877</c:v>
                      </c:pt>
                      <c:pt idx="288">
                        <c:v>0.35938660189074523</c:v>
                      </c:pt>
                      <c:pt idx="289">
                        <c:v>0.36321803302817446</c:v>
                      </c:pt>
                      <c:pt idx="290">
                        <c:v>0.3683265562851441</c:v>
                      </c:pt>
                      <c:pt idx="291">
                        <c:v>0.37726651784063314</c:v>
                      </c:pt>
                      <c:pt idx="292">
                        <c:v>0.38314138589913438</c:v>
                      </c:pt>
                      <c:pt idx="293">
                        <c:v>0.381097932815607</c:v>
                      </c:pt>
                      <c:pt idx="294">
                        <c:v>0.37190258277892063</c:v>
                      </c:pt>
                      <c:pt idx="295">
                        <c:v>0.36449513197346395</c:v>
                      </c:pt>
                      <c:pt idx="296">
                        <c:v>0.38211963334559917</c:v>
                      </c:pt>
                      <c:pt idx="297">
                        <c:v>0.38211963334559917</c:v>
                      </c:pt>
                      <c:pt idx="298">
                        <c:v>0.39821151402467869</c:v>
                      </c:pt>
                      <c:pt idx="299">
                        <c:v>0.40306470618985846</c:v>
                      </c:pt>
                      <c:pt idx="300">
                        <c:v>0.41021668822319057</c:v>
                      </c:pt>
                      <c:pt idx="301">
                        <c:v>0.4160915099246596</c:v>
                      </c:pt>
                      <c:pt idx="302">
                        <c:v>0.42171098586349354</c:v>
                      </c:pt>
                      <c:pt idx="303">
                        <c:v>0.41992304212767162</c:v>
                      </c:pt>
                      <c:pt idx="304">
                        <c:v>0.40204308719659143</c:v>
                      </c:pt>
                      <c:pt idx="305">
                        <c:v>0.41506989013266105</c:v>
                      </c:pt>
                      <c:pt idx="306">
                        <c:v>0.42452071740788999</c:v>
                      </c:pt>
                      <c:pt idx="307">
                        <c:v>0.42477613397252134</c:v>
                      </c:pt>
                      <c:pt idx="308">
                        <c:v>0.4168579406079691</c:v>
                      </c:pt>
                      <c:pt idx="309">
                        <c:v>0.42068940785096109</c:v>
                      </c:pt>
                      <c:pt idx="310">
                        <c:v>0.42605336277924311</c:v>
                      </c:pt>
                      <c:pt idx="311">
                        <c:v>0.42554255046469569</c:v>
                      </c:pt>
                      <c:pt idx="312">
                        <c:v>0.4222220342018983</c:v>
                      </c:pt>
                      <c:pt idx="313">
                        <c:v>0.42324375851126894</c:v>
                      </c:pt>
                      <c:pt idx="314">
                        <c:v>0.4314174474163992</c:v>
                      </c:pt>
                      <c:pt idx="315">
                        <c:v>0.4296294638828313</c:v>
                      </c:pt>
                      <c:pt idx="316">
                        <c:v>0.43039574527547253</c:v>
                      </c:pt>
                      <c:pt idx="317">
                        <c:v>0.42452096691005159</c:v>
                      </c:pt>
                      <c:pt idx="318">
                        <c:v>0.42477638351941871</c:v>
                      </c:pt>
                      <c:pt idx="319">
                        <c:v>0.40893985153896195</c:v>
                      </c:pt>
                      <c:pt idx="320">
                        <c:v>0.40996161471929793</c:v>
                      </c:pt>
                      <c:pt idx="321">
                        <c:v>0.41558101673476155</c:v>
                      </c:pt>
                      <c:pt idx="322">
                        <c:v>0.41021709714615007</c:v>
                      </c:pt>
                      <c:pt idx="323">
                        <c:v>0.41200511140362162</c:v>
                      </c:pt>
                      <c:pt idx="324">
                        <c:v>0.40638575466176863</c:v>
                      </c:pt>
                      <c:pt idx="325">
                        <c:v>0.40000006014272693</c:v>
                      </c:pt>
                      <c:pt idx="326">
                        <c:v>0.38876127965991913</c:v>
                      </c:pt>
                      <c:pt idx="327">
                        <c:v>0.36858243939033253</c:v>
                      </c:pt>
                      <c:pt idx="328">
                        <c:v>0.3874840683189964</c:v>
                      </c:pt>
                      <c:pt idx="329">
                        <c:v>0.38825037576992916</c:v>
                      </c:pt>
                      <c:pt idx="330">
                        <c:v>0.37931045982508338</c:v>
                      </c:pt>
                      <c:pt idx="331">
                        <c:v>0.39003846071951087</c:v>
                      </c:pt>
                      <c:pt idx="332">
                        <c:v>0.39208181725676861</c:v>
                      </c:pt>
                      <c:pt idx="333">
                        <c:v>0.38671784759851491</c:v>
                      </c:pt>
                      <c:pt idx="334">
                        <c:v>0.39208181090481076</c:v>
                      </c:pt>
                      <c:pt idx="335">
                        <c:v>0.40536408108719679</c:v>
                      </c:pt>
                      <c:pt idx="336">
                        <c:v>0.41813546771048471</c:v>
                      </c:pt>
                      <c:pt idx="337">
                        <c:v>0.41711370110599932</c:v>
                      </c:pt>
                      <c:pt idx="338">
                        <c:v>0.41098340894638485</c:v>
                      </c:pt>
                      <c:pt idx="339">
                        <c:v>0.41353771221160063</c:v>
                      </c:pt>
                      <c:pt idx="340">
                        <c:v>0.41532569606377701</c:v>
                      </c:pt>
                      <c:pt idx="341">
                        <c:v>0.42349934349111473</c:v>
                      </c:pt>
                      <c:pt idx="342">
                        <c:v>0.43678158881542739</c:v>
                      </c:pt>
                      <c:pt idx="343">
                        <c:v>0.43933589912402327</c:v>
                      </c:pt>
                      <c:pt idx="344">
                        <c:v>0.4413793243000097</c:v>
                      </c:pt>
                      <c:pt idx="345">
                        <c:v>0.43575996286629382</c:v>
                      </c:pt>
                      <c:pt idx="346">
                        <c:v>0.4342274326819302</c:v>
                      </c:pt>
                      <c:pt idx="347">
                        <c:v>0.43831426375135729</c:v>
                      </c:pt>
                      <c:pt idx="348">
                        <c:v>0.4393360422043262</c:v>
                      </c:pt>
                      <c:pt idx="349">
                        <c:v>0.44572180048916987</c:v>
                      </c:pt>
                      <c:pt idx="350">
                        <c:v>0.44750972463983474</c:v>
                      </c:pt>
                      <c:pt idx="351">
                        <c:v>0.43192858521283894</c:v>
                      </c:pt>
                      <c:pt idx="352">
                        <c:v>0.4436782752188031</c:v>
                      </c:pt>
                      <c:pt idx="353">
                        <c:v>0.44035767081797239</c:v>
                      </c:pt>
                      <c:pt idx="354">
                        <c:v>0.43908050567125811</c:v>
                      </c:pt>
                      <c:pt idx="355">
                        <c:v>0.44035768962004118</c:v>
                      </c:pt>
                      <c:pt idx="356">
                        <c:v>0.42707543118521007</c:v>
                      </c:pt>
                      <c:pt idx="357">
                        <c:v>0.42937430699730639</c:v>
                      </c:pt>
                      <c:pt idx="358">
                        <c:v>0.42733087348802301</c:v>
                      </c:pt>
                      <c:pt idx="359">
                        <c:v>0.42426568043720758</c:v>
                      </c:pt>
                      <c:pt idx="360">
                        <c:v>0.41634747538681682</c:v>
                      </c:pt>
                      <c:pt idx="361">
                        <c:v>0.41609210793700457</c:v>
                      </c:pt>
                      <c:pt idx="362">
                        <c:v>0.42247783368853575</c:v>
                      </c:pt>
                      <c:pt idx="363">
                        <c:v>0.4303960565497631</c:v>
                      </c:pt>
                      <c:pt idx="364">
                        <c:v>0.44163482140568022</c:v>
                      </c:pt>
                      <c:pt idx="365">
                        <c:v>0.44572171196088339</c:v>
                      </c:pt>
                      <c:pt idx="366">
                        <c:v>0.44265663735935523</c:v>
                      </c:pt>
                      <c:pt idx="367">
                        <c:v>0.4357600173044589</c:v>
                      </c:pt>
                      <c:pt idx="368">
                        <c:v>0.43473833047614496</c:v>
                      </c:pt>
                      <c:pt idx="369">
                        <c:v>0.43601553453793485</c:v>
                      </c:pt>
                      <c:pt idx="370">
                        <c:v>0.44137948336409449</c:v>
                      </c:pt>
                      <c:pt idx="371">
                        <c:v>0.44853146422259882</c:v>
                      </c:pt>
                      <c:pt idx="372">
                        <c:v>0.45491717032947765</c:v>
                      </c:pt>
                      <c:pt idx="373">
                        <c:v>0.46692227386873442</c:v>
                      </c:pt>
                      <c:pt idx="374">
                        <c:v>0.47943820140160986</c:v>
                      </c:pt>
                      <c:pt idx="375">
                        <c:v>0.48582390051031954</c:v>
                      </c:pt>
                      <c:pt idx="376">
                        <c:v>0.48429127315694309</c:v>
                      </c:pt>
                      <c:pt idx="377">
                        <c:v>0.47458504723438777</c:v>
                      </c:pt>
                      <c:pt idx="378">
                        <c:v>0.47126442916652067</c:v>
                      </c:pt>
                      <c:pt idx="379">
                        <c:v>0.48045983184881158</c:v>
                      </c:pt>
                      <c:pt idx="380">
                        <c:v>0.48505754790260136</c:v>
                      </c:pt>
                      <c:pt idx="381">
                        <c:v>0.47943809014133798</c:v>
                      </c:pt>
                      <c:pt idx="382">
                        <c:v>0.47356324148538675</c:v>
                      </c:pt>
                      <c:pt idx="383">
                        <c:v>0.47100896696259609</c:v>
                      </c:pt>
                      <c:pt idx="384">
                        <c:v>0.47254146410437792</c:v>
                      </c:pt>
                      <c:pt idx="385">
                        <c:v>0.47254146410437792</c:v>
                      </c:pt>
                      <c:pt idx="386">
                        <c:v>0.47509573452801335</c:v>
                      </c:pt>
                      <c:pt idx="387">
                        <c:v>0.47151980744837063</c:v>
                      </c:pt>
                      <c:pt idx="388">
                        <c:v>0.45287359136026928</c:v>
                      </c:pt>
                      <c:pt idx="389">
                        <c:v>0.46411244031359566</c:v>
                      </c:pt>
                      <c:pt idx="390">
                        <c:v>0.47024267910118867</c:v>
                      </c:pt>
                      <c:pt idx="391">
                        <c:v>0.47254155055423142</c:v>
                      </c:pt>
                      <c:pt idx="392">
                        <c:v>0.48071518693889259</c:v>
                      </c:pt>
                      <c:pt idx="393">
                        <c:v>0.49093226980028959</c:v>
                      </c:pt>
                      <c:pt idx="394">
                        <c:v>0.48556834277322913</c:v>
                      </c:pt>
                      <c:pt idx="395">
                        <c:v>0.4853129735751065</c:v>
                      </c:pt>
                      <c:pt idx="396">
                        <c:v>0.4896552860533534</c:v>
                      </c:pt>
                      <c:pt idx="397">
                        <c:v>0.483780383536216</c:v>
                      </c:pt>
                      <c:pt idx="398">
                        <c:v>0.48505747331232563</c:v>
                      </c:pt>
                      <c:pt idx="399">
                        <c:v>0.4899106411351104</c:v>
                      </c:pt>
                      <c:pt idx="400">
                        <c:v>0.48607918693036734</c:v>
                      </c:pt>
                      <c:pt idx="401">
                        <c:v>0.48378037103610483</c:v>
                      </c:pt>
                      <c:pt idx="402">
                        <c:v>0.48633469894484338</c:v>
                      </c:pt>
                      <c:pt idx="403">
                        <c:v>0.49144323130511669</c:v>
                      </c:pt>
                      <c:pt idx="404">
                        <c:v>0.4988506332577165</c:v>
                      </c:pt>
                      <c:pt idx="405">
                        <c:v>0.49757346263311764</c:v>
                      </c:pt>
                      <c:pt idx="406">
                        <c:v>0.48735641744164937</c:v>
                      </c:pt>
                      <c:pt idx="407">
                        <c:v>0.48786732437104074</c:v>
                      </c:pt>
                      <c:pt idx="408">
                        <c:v>0.47203076214390038</c:v>
                      </c:pt>
                      <c:pt idx="409">
                        <c:v>0.46896569969096435</c:v>
                      </c:pt>
                      <c:pt idx="410">
                        <c:v>0.44980862420815448</c:v>
                      </c:pt>
                      <c:pt idx="411">
                        <c:v>0.43959153287163466</c:v>
                      </c:pt>
                      <c:pt idx="412">
                        <c:v>0.46079210945792881</c:v>
                      </c:pt>
                      <c:pt idx="413">
                        <c:v>0.46232462645996097</c:v>
                      </c:pt>
                      <c:pt idx="414">
                        <c:v>0.46258009457220362</c:v>
                      </c:pt>
                      <c:pt idx="415">
                        <c:v>0.45568359065226738</c:v>
                      </c:pt>
                      <c:pt idx="416">
                        <c:v>0.44470016682407776</c:v>
                      </c:pt>
                      <c:pt idx="417">
                        <c:v>0.45823787420731943</c:v>
                      </c:pt>
                      <c:pt idx="418">
                        <c:v>0.45721623275264967</c:v>
                      </c:pt>
                      <c:pt idx="419">
                        <c:v>0.45925968707583875</c:v>
                      </c:pt>
                      <c:pt idx="420">
                        <c:v>0.45925968707583875</c:v>
                      </c:pt>
                      <c:pt idx="421">
                        <c:v>0.45900431663060037</c:v>
                      </c:pt>
                      <c:pt idx="422">
                        <c:v>0.46641168154613388</c:v>
                      </c:pt>
                      <c:pt idx="423">
                        <c:v>0.47458531361790368</c:v>
                      </c:pt>
                      <c:pt idx="424">
                        <c:v>0.4809710053185261</c:v>
                      </c:pt>
                      <c:pt idx="425">
                        <c:v>0.49093275678580128</c:v>
                      </c:pt>
                      <c:pt idx="426">
                        <c:v>0.49348702278472678</c:v>
                      </c:pt>
                      <c:pt idx="427">
                        <c:v>0.50625842771136798</c:v>
                      </c:pt>
                      <c:pt idx="428">
                        <c:v>0.51417667764000385</c:v>
                      </c:pt>
                      <c:pt idx="429">
                        <c:v>0.51417667764000385</c:v>
                      </c:pt>
                      <c:pt idx="430">
                        <c:v>0.52362756279116174</c:v>
                      </c:pt>
                      <c:pt idx="431">
                        <c:v>0.53282295985811889</c:v>
                      </c:pt>
                      <c:pt idx="432">
                        <c:v>0.53333384975063969</c:v>
                      </c:pt>
                      <c:pt idx="433">
                        <c:v>0.53180128256781378</c:v>
                      </c:pt>
                      <c:pt idx="434">
                        <c:v>0.53026871538460485</c:v>
                      </c:pt>
                      <c:pt idx="435">
                        <c:v>0.51749724571287636</c:v>
                      </c:pt>
                      <c:pt idx="436">
                        <c:v>0.52107322797239886</c:v>
                      </c:pt>
                      <c:pt idx="437">
                        <c:v>0.52209493285962805</c:v>
                      </c:pt>
                      <c:pt idx="438">
                        <c:v>0.51749729290543223</c:v>
                      </c:pt>
                      <c:pt idx="439">
                        <c:v>0.51187784868007413</c:v>
                      </c:pt>
                      <c:pt idx="440">
                        <c:v>0.50472591051689308</c:v>
                      </c:pt>
                      <c:pt idx="441">
                        <c:v>0.51749727168240511</c:v>
                      </c:pt>
                      <c:pt idx="442">
                        <c:v>0.52260577449779677</c:v>
                      </c:pt>
                      <c:pt idx="443">
                        <c:v>0.52413827720982864</c:v>
                      </c:pt>
                      <c:pt idx="444">
                        <c:v>0.52362738605930792</c:v>
                      </c:pt>
                      <c:pt idx="445">
                        <c:v>0.53307814200955672</c:v>
                      </c:pt>
                      <c:pt idx="446">
                        <c:v>0.54074092648676308</c:v>
                      </c:pt>
                      <c:pt idx="447">
                        <c:v>0.54840380148464485</c:v>
                      </c:pt>
                      <c:pt idx="448">
                        <c:v>0.54533873615960604</c:v>
                      </c:pt>
                      <c:pt idx="449">
                        <c:v>0.54559418065269316</c:v>
                      </c:pt>
                      <c:pt idx="450">
                        <c:v>0.55070267853858645</c:v>
                      </c:pt>
                      <c:pt idx="451">
                        <c:v>0.54814836108649767</c:v>
                      </c:pt>
                      <c:pt idx="452">
                        <c:v>0.54023004666404861</c:v>
                      </c:pt>
                      <c:pt idx="453">
                        <c:v>0.53869751776761787</c:v>
                      </c:pt>
                      <c:pt idx="454">
                        <c:v>0.52924668374373729</c:v>
                      </c:pt>
                      <c:pt idx="455">
                        <c:v>0.49731815393252532</c:v>
                      </c:pt>
                      <c:pt idx="456">
                        <c:v>0.51698602681169037</c:v>
                      </c:pt>
                      <c:pt idx="457">
                        <c:v>0.51341003565068721</c:v>
                      </c:pt>
                      <c:pt idx="458">
                        <c:v>0.51085570219251597</c:v>
                      </c:pt>
                      <c:pt idx="459">
                        <c:v>0.51443174655403534</c:v>
                      </c:pt>
                      <c:pt idx="460">
                        <c:v>0.51136653669900989</c:v>
                      </c:pt>
                      <c:pt idx="461">
                        <c:v>0.49731793133043167</c:v>
                      </c:pt>
                      <c:pt idx="462">
                        <c:v>0.48837789515783703</c:v>
                      </c:pt>
                      <c:pt idx="463">
                        <c:v>0.51060012132149102</c:v>
                      </c:pt>
                      <c:pt idx="464">
                        <c:v>0.50906761749841034</c:v>
                      </c:pt>
                      <c:pt idx="465">
                        <c:v>0.50370363665201223</c:v>
                      </c:pt>
                      <c:pt idx="466">
                        <c:v>0.50676878614496368</c:v>
                      </c:pt>
                      <c:pt idx="467">
                        <c:v>0.50881226597273344</c:v>
                      </c:pt>
                      <c:pt idx="468">
                        <c:v>0.52337170081446382</c:v>
                      </c:pt>
                      <c:pt idx="469">
                        <c:v>0.51954026864974545</c:v>
                      </c:pt>
                      <c:pt idx="470">
                        <c:v>0.52235005056050587</c:v>
                      </c:pt>
                      <c:pt idx="471">
                        <c:v>0.50370385043622568</c:v>
                      </c:pt>
                      <c:pt idx="472">
                        <c:v>0.50498094611640121</c:v>
                      </c:pt>
                      <c:pt idx="473">
                        <c:v>0.48812275155038365</c:v>
                      </c:pt>
                      <c:pt idx="474">
                        <c:v>0.49527466949433485</c:v>
                      </c:pt>
                      <c:pt idx="475">
                        <c:v>0.47381867420682688</c:v>
                      </c:pt>
                      <c:pt idx="476">
                        <c:v>0.46334616085351543</c:v>
                      </c:pt>
                      <c:pt idx="477">
                        <c:v>0.45568334868220606</c:v>
                      </c:pt>
                      <c:pt idx="478">
                        <c:v>0.46641129825698924</c:v>
                      </c:pt>
                      <c:pt idx="479">
                        <c:v>0.4556833264812008</c:v>
                      </c:pt>
                      <c:pt idx="480">
                        <c:v>0.44776499145847359</c:v>
                      </c:pt>
                      <c:pt idx="481">
                        <c:v>0.44878667921294579</c:v>
                      </c:pt>
                      <c:pt idx="482">
                        <c:v>0.44086848049637539</c:v>
                      </c:pt>
                      <c:pt idx="483">
                        <c:v>0.43269472178021551</c:v>
                      </c:pt>
                      <c:pt idx="484">
                        <c:v>0.41174958456462196</c:v>
                      </c:pt>
                      <c:pt idx="485">
                        <c:v>0.40842900836676765</c:v>
                      </c:pt>
                      <c:pt idx="486">
                        <c:v>0.42579803658374815</c:v>
                      </c:pt>
                      <c:pt idx="487">
                        <c:v>0.45031905379671922</c:v>
                      </c:pt>
                      <c:pt idx="488">
                        <c:v>0.44904190283794576</c:v>
                      </c:pt>
                      <c:pt idx="489">
                        <c:v>0.45976988456560641</c:v>
                      </c:pt>
                      <c:pt idx="490">
                        <c:v>0.468965267022462</c:v>
                      </c:pt>
                      <c:pt idx="491">
                        <c:v>0.45287334010833757</c:v>
                      </c:pt>
                      <c:pt idx="492">
                        <c:v>0.45440597619481782</c:v>
                      </c:pt>
                      <c:pt idx="493">
                        <c:v>0.46104708476331857</c:v>
                      </c:pt>
                      <c:pt idx="494">
                        <c:v>0.45951444637140182</c:v>
                      </c:pt>
                      <c:pt idx="495">
                        <c:v>0.45823737123082697</c:v>
                      </c:pt>
                      <c:pt idx="496">
                        <c:v>0.45440599836165507</c:v>
                      </c:pt>
                      <c:pt idx="497">
                        <c:v>0.45108544402679551</c:v>
                      </c:pt>
                      <c:pt idx="498">
                        <c:v>0.45593859929434322</c:v>
                      </c:pt>
                      <c:pt idx="499">
                        <c:v>0.46411223859078166</c:v>
                      </c:pt>
                      <c:pt idx="500">
                        <c:v>0.46002546209920303</c:v>
                      </c:pt>
                      <c:pt idx="501">
                        <c:v>0.44853126564628076</c:v>
                      </c:pt>
                      <c:pt idx="502">
                        <c:v>0.45261815175917519</c:v>
                      </c:pt>
                      <c:pt idx="503">
                        <c:v>0.46436779894149449</c:v>
                      </c:pt>
                      <c:pt idx="504">
                        <c:v>0.45619413719814261</c:v>
                      </c:pt>
                      <c:pt idx="505">
                        <c:v>0.44725412453164215</c:v>
                      </c:pt>
                      <c:pt idx="506">
                        <c:v>0.44444442537427653</c:v>
                      </c:pt>
                      <c:pt idx="507">
                        <c:v>0.43039590333752886</c:v>
                      </c:pt>
                      <c:pt idx="508">
                        <c:v>0.43039590333752886</c:v>
                      </c:pt>
                    </c:numCache>
                  </c:numRef>
                </c:val>
                <c:smooth val="0"/>
                <c:extLst>
                  <c:ext xmlns:c16="http://schemas.microsoft.com/office/drawing/2014/chart" uri="{C3380CC4-5D6E-409C-BE32-E72D297353CC}">
                    <c16:uniqueId val="{00000008-FEDF-4824-BFB3-214DAB16BA7B}"/>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Chart!$C$4</c15:sqref>
                        </c15:formulaRef>
                      </c:ext>
                    </c:extLst>
                    <c:strCache>
                      <c:ptCount val="1"/>
                      <c:pt idx="0">
                        <c:v>6/26/1962</c:v>
                      </c:pt>
                    </c:strCache>
                  </c:strRef>
                </c:tx>
                <c:spPr>
                  <a:ln w="28575" cap="rnd">
                    <a:solidFill>
                      <a:schemeClr val="accent2"/>
                    </a:solidFill>
                    <a:round/>
                  </a:ln>
                  <a:effectLst/>
                </c:spPr>
                <c:marker>
                  <c:symbol val="none"/>
                </c:marker>
                <c:cat>
                  <c:numRef>
                    <c:extLst xmlns:c15="http://schemas.microsoft.com/office/drawing/2012/chart">
                      <c:ext xmlns:c15="http://schemas.microsoft.com/office/drawing/2012/chart" uri="{02D57815-91ED-43cb-92C2-25804820EDAC}">
                        <c15:formulaRef>
                          <c15:sqref>Chart!$A$5:$A$513</c15:sqref>
                        </c15:formulaRef>
                      </c:ext>
                    </c:extLst>
                    <c:numCache>
                      <c:formatCode>General</c:formatCode>
                      <c:ptCount val="50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pt idx="100">
                        <c:v>101</c:v>
                      </c:pt>
                      <c:pt idx="101">
                        <c:v>102</c:v>
                      </c:pt>
                      <c:pt idx="102">
                        <c:v>103</c:v>
                      </c:pt>
                      <c:pt idx="103">
                        <c:v>104</c:v>
                      </c:pt>
                      <c:pt idx="104">
                        <c:v>105</c:v>
                      </c:pt>
                      <c:pt idx="105">
                        <c:v>106</c:v>
                      </c:pt>
                      <c:pt idx="106">
                        <c:v>107</c:v>
                      </c:pt>
                      <c:pt idx="107">
                        <c:v>108</c:v>
                      </c:pt>
                      <c:pt idx="108">
                        <c:v>109</c:v>
                      </c:pt>
                      <c:pt idx="109">
                        <c:v>110</c:v>
                      </c:pt>
                      <c:pt idx="110">
                        <c:v>111</c:v>
                      </c:pt>
                      <c:pt idx="111">
                        <c:v>112</c:v>
                      </c:pt>
                      <c:pt idx="112">
                        <c:v>113</c:v>
                      </c:pt>
                      <c:pt idx="113">
                        <c:v>114</c:v>
                      </c:pt>
                      <c:pt idx="114">
                        <c:v>115</c:v>
                      </c:pt>
                      <c:pt idx="115">
                        <c:v>116</c:v>
                      </c:pt>
                      <c:pt idx="116">
                        <c:v>117</c:v>
                      </c:pt>
                      <c:pt idx="117">
                        <c:v>118</c:v>
                      </c:pt>
                      <c:pt idx="118">
                        <c:v>119</c:v>
                      </c:pt>
                      <c:pt idx="119">
                        <c:v>120</c:v>
                      </c:pt>
                      <c:pt idx="120">
                        <c:v>121</c:v>
                      </c:pt>
                      <c:pt idx="121">
                        <c:v>122</c:v>
                      </c:pt>
                      <c:pt idx="122">
                        <c:v>123</c:v>
                      </c:pt>
                      <c:pt idx="123">
                        <c:v>124</c:v>
                      </c:pt>
                      <c:pt idx="124">
                        <c:v>125</c:v>
                      </c:pt>
                      <c:pt idx="125">
                        <c:v>126</c:v>
                      </c:pt>
                      <c:pt idx="126">
                        <c:v>127</c:v>
                      </c:pt>
                      <c:pt idx="127">
                        <c:v>128</c:v>
                      </c:pt>
                      <c:pt idx="128">
                        <c:v>129</c:v>
                      </c:pt>
                      <c:pt idx="129">
                        <c:v>130</c:v>
                      </c:pt>
                      <c:pt idx="130">
                        <c:v>131</c:v>
                      </c:pt>
                      <c:pt idx="131">
                        <c:v>132</c:v>
                      </c:pt>
                      <c:pt idx="132">
                        <c:v>133</c:v>
                      </c:pt>
                      <c:pt idx="133">
                        <c:v>134</c:v>
                      </c:pt>
                      <c:pt idx="134">
                        <c:v>135</c:v>
                      </c:pt>
                      <c:pt idx="135">
                        <c:v>136</c:v>
                      </c:pt>
                      <c:pt idx="136">
                        <c:v>137</c:v>
                      </c:pt>
                      <c:pt idx="137">
                        <c:v>138</c:v>
                      </c:pt>
                      <c:pt idx="138">
                        <c:v>139</c:v>
                      </c:pt>
                      <c:pt idx="139">
                        <c:v>140</c:v>
                      </c:pt>
                      <c:pt idx="140">
                        <c:v>141</c:v>
                      </c:pt>
                      <c:pt idx="141">
                        <c:v>142</c:v>
                      </c:pt>
                      <c:pt idx="142">
                        <c:v>143</c:v>
                      </c:pt>
                      <c:pt idx="143">
                        <c:v>144</c:v>
                      </c:pt>
                      <c:pt idx="144">
                        <c:v>145</c:v>
                      </c:pt>
                      <c:pt idx="145">
                        <c:v>146</c:v>
                      </c:pt>
                      <c:pt idx="146">
                        <c:v>147</c:v>
                      </c:pt>
                      <c:pt idx="147">
                        <c:v>148</c:v>
                      </c:pt>
                      <c:pt idx="148">
                        <c:v>149</c:v>
                      </c:pt>
                      <c:pt idx="149">
                        <c:v>150</c:v>
                      </c:pt>
                      <c:pt idx="150">
                        <c:v>151</c:v>
                      </c:pt>
                      <c:pt idx="151">
                        <c:v>152</c:v>
                      </c:pt>
                      <c:pt idx="152">
                        <c:v>153</c:v>
                      </c:pt>
                      <c:pt idx="153">
                        <c:v>154</c:v>
                      </c:pt>
                      <c:pt idx="154">
                        <c:v>155</c:v>
                      </c:pt>
                      <c:pt idx="155">
                        <c:v>156</c:v>
                      </c:pt>
                      <c:pt idx="156">
                        <c:v>157</c:v>
                      </c:pt>
                      <c:pt idx="157">
                        <c:v>158</c:v>
                      </c:pt>
                      <c:pt idx="158">
                        <c:v>159</c:v>
                      </c:pt>
                      <c:pt idx="159">
                        <c:v>160</c:v>
                      </c:pt>
                      <c:pt idx="160">
                        <c:v>161</c:v>
                      </c:pt>
                      <c:pt idx="161">
                        <c:v>162</c:v>
                      </c:pt>
                      <c:pt idx="162">
                        <c:v>163</c:v>
                      </c:pt>
                      <c:pt idx="163">
                        <c:v>164</c:v>
                      </c:pt>
                      <c:pt idx="164">
                        <c:v>165</c:v>
                      </c:pt>
                      <c:pt idx="165">
                        <c:v>166</c:v>
                      </c:pt>
                      <c:pt idx="166">
                        <c:v>167</c:v>
                      </c:pt>
                      <c:pt idx="167">
                        <c:v>168</c:v>
                      </c:pt>
                      <c:pt idx="168">
                        <c:v>169</c:v>
                      </c:pt>
                      <c:pt idx="169">
                        <c:v>170</c:v>
                      </c:pt>
                      <c:pt idx="170">
                        <c:v>171</c:v>
                      </c:pt>
                      <c:pt idx="171">
                        <c:v>172</c:v>
                      </c:pt>
                      <c:pt idx="172">
                        <c:v>173</c:v>
                      </c:pt>
                      <c:pt idx="173">
                        <c:v>174</c:v>
                      </c:pt>
                      <c:pt idx="174">
                        <c:v>175</c:v>
                      </c:pt>
                      <c:pt idx="175">
                        <c:v>176</c:v>
                      </c:pt>
                      <c:pt idx="176">
                        <c:v>177</c:v>
                      </c:pt>
                      <c:pt idx="177">
                        <c:v>178</c:v>
                      </c:pt>
                      <c:pt idx="178">
                        <c:v>179</c:v>
                      </c:pt>
                      <c:pt idx="179">
                        <c:v>180</c:v>
                      </c:pt>
                      <c:pt idx="180">
                        <c:v>181</c:v>
                      </c:pt>
                      <c:pt idx="181">
                        <c:v>182</c:v>
                      </c:pt>
                      <c:pt idx="182">
                        <c:v>183</c:v>
                      </c:pt>
                      <c:pt idx="183">
                        <c:v>184</c:v>
                      </c:pt>
                      <c:pt idx="184">
                        <c:v>185</c:v>
                      </c:pt>
                      <c:pt idx="185">
                        <c:v>186</c:v>
                      </c:pt>
                      <c:pt idx="186">
                        <c:v>187</c:v>
                      </c:pt>
                      <c:pt idx="187">
                        <c:v>188</c:v>
                      </c:pt>
                      <c:pt idx="188">
                        <c:v>189</c:v>
                      </c:pt>
                      <c:pt idx="189">
                        <c:v>190</c:v>
                      </c:pt>
                      <c:pt idx="190">
                        <c:v>191</c:v>
                      </c:pt>
                      <c:pt idx="191">
                        <c:v>192</c:v>
                      </c:pt>
                      <c:pt idx="192">
                        <c:v>193</c:v>
                      </c:pt>
                      <c:pt idx="193">
                        <c:v>194</c:v>
                      </c:pt>
                      <c:pt idx="194">
                        <c:v>195</c:v>
                      </c:pt>
                      <c:pt idx="195">
                        <c:v>196</c:v>
                      </c:pt>
                      <c:pt idx="196">
                        <c:v>197</c:v>
                      </c:pt>
                      <c:pt idx="197">
                        <c:v>198</c:v>
                      </c:pt>
                      <c:pt idx="198">
                        <c:v>199</c:v>
                      </c:pt>
                      <c:pt idx="199">
                        <c:v>200</c:v>
                      </c:pt>
                      <c:pt idx="200">
                        <c:v>201</c:v>
                      </c:pt>
                      <c:pt idx="201">
                        <c:v>202</c:v>
                      </c:pt>
                      <c:pt idx="202">
                        <c:v>203</c:v>
                      </c:pt>
                      <c:pt idx="203">
                        <c:v>204</c:v>
                      </c:pt>
                      <c:pt idx="204">
                        <c:v>205</c:v>
                      </c:pt>
                      <c:pt idx="205">
                        <c:v>206</c:v>
                      </c:pt>
                      <c:pt idx="206">
                        <c:v>207</c:v>
                      </c:pt>
                      <c:pt idx="207">
                        <c:v>208</c:v>
                      </c:pt>
                      <c:pt idx="208">
                        <c:v>209</c:v>
                      </c:pt>
                      <c:pt idx="209">
                        <c:v>210</c:v>
                      </c:pt>
                      <c:pt idx="210">
                        <c:v>211</c:v>
                      </c:pt>
                      <c:pt idx="211">
                        <c:v>212</c:v>
                      </c:pt>
                      <c:pt idx="212">
                        <c:v>213</c:v>
                      </c:pt>
                      <c:pt idx="213">
                        <c:v>214</c:v>
                      </c:pt>
                      <c:pt idx="214">
                        <c:v>215</c:v>
                      </c:pt>
                      <c:pt idx="215">
                        <c:v>216</c:v>
                      </c:pt>
                      <c:pt idx="216">
                        <c:v>217</c:v>
                      </c:pt>
                      <c:pt idx="217">
                        <c:v>218</c:v>
                      </c:pt>
                      <c:pt idx="218">
                        <c:v>219</c:v>
                      </c:pt>
                      <c:pt idx="219">
                        <c:v>220</c:v>
                      </c:pt>
                      <c:pt idx="220">
                        <c:v>221</c:v>
                      </c:pt>
                      <c:pt idx="221">
                        <c:v>222</c:v>
                      </c:pt>
                      <c:pt idx="222">
                        <c:v>223</c:v>
                      </c:pt>
                      <c:pt idx="223">
                        <c:v>224</c:v>
                      </c:pt>
                      <c:pt idx="224">
                        <c:v>225</c:v>
                      </c:pt>
                      <c:pt idx="225">
                        <c:v>226</c:v>
                      </c:pt>
                      <c:pt idx="226">
                        <c:v>227</c:v>
                      </c:pt>
                      <c:pt idx="227">
                        <c:v>228</c:v>
                      </c:pt>
                      <c:pt idx="228">
                        <c:v>229</c:v>
                      </c:pt>
                      <c:pt idx="229">
                        <c:v>230</c:v>
                      </c:pt>
                      <c:pt idx="230">
                        <c:v>231</c:v>
                      </c:pt>
                      <c:pt idx="231">
                        <c:v>232</c:v>
                      </c:pt>
                      <c:pt idx="232">
                        <c:v>233</c:v>
                      </c:pt>
                      <c:pt idx="233">
                        <c:v>234</c:v>
                      </c:pt>
                      <c:pt idx="234">
                        <c:v>235</c:v>
                      </c:pt>
                      <c:pt idx="235">
                        <c:v>236</c:v>
                      </c:pt>
                      <c:pt idx="236">
                        <c:v>237</c:v>
                      </c:pt>
                      <c:pt idx="237">
                        <c:v>238</c:v>
                      </c:pt>
                      <c:pt idx="238">
                        <c:v>239</c:v>
                      </c:pt>
                      <c:pt idx="239">
                        <c:v>240</c:v>
                      </c:pt>
                      <c:pt idx="240">
                        <c:v>241</c:v>
                      </c:pt>
                      <c:pt idx="241">
                        <c:v>242</c:v>
                      </c:pt>
                      <c:pt idx="242">
                        <c:v>243</c:v>
                      </c:pt>
                      <c:pt idx="243">
                        <c:v>244</c:v>
                      </c:pt>
                      <c:pt idx="244">
                        <c:v>245</c:v>
                      </c:pt>
                      <c:pt idx="245">
                        <c:v>246</c:v>
                      </c:pt>
                      <c:pt idx="246">
                        <c:v>247</c:v>
                      </c:pt>
                      <c:pt idx="247">
                        <c:v>248</c:v>
                      </c:pt>
                      <c:pt idx="248">
                        <c:v>249</c:v>
                      </c:pt>
                      <c:pt idx="249">
                        <c:v>250</c:v>
                      </c:pt>
                      <c:pt idx="250">
                        <c:v>251</c:v>
                      </c:pt>
                      <c:pt idx="251">
                        <c:v>252</c:v>
                      </c:pt>
                      <c:pt idx="252">
                        <c:v>253</c:v>
                      </c:pt>
                      <c:pt idx="253">
                        <c:v>254</c:v>
                      </c:pt>
                      <c:pt idx="254">
                        <c:v>255</c:v>
                      </c:pt>
                      <c:pt idx="255">
                        <c:v>256</c:v>
                      </c:pt>
                      <c:pt idx="256">
                        <c:v>257</c:v>
                      </c:pt>
                      <c:pt idx="257">
                        <c:v>258</c:v>
                      </c:pt>
                      <c:pt idx="258">
                        <c:v>259</c:v>
                      </c:pt>
                      <c:pt idx="259">
                        <c:v>260</c:v>
                      </c:pt>
                      <c:pt idx="260">
                        <c:v>261</c:v>
                      </c:pt>
                      <c:pt idx="261">
                        <c:v>262</c:v>
                      </c:pt>
                      <c:pt idx="262">
                        <c:v>263</c:v>
                      </c:pt>
                      <c:pt idx="263">
                        <c:v>264</c:v>
                      </c:pt>
                      <c:pt idx="264">
                        <c:v>265</c:v>
                      </c:pt>
                      <c:pt idx="265">
                        <c:v>266</c:v>
                      </c:pt>
                      <c:pt idx="266">
                        <c:v>267</c:v>
                      </c:pt>
                      <c:pt idx="267">
                        <c:v>268</c:v>
                      </c:pt>
                      <c:pt idx="268">
                        <c:v>269</c:v>
                      </c:pt>
                      <c:pt idx="269">
                        <c:v>270</c:v>
                      </c:pt>
                      <c:pt idx="270">
                        <c:v>271</c:v>
                      </c:pt>
                      <c:pt idx="271">
                        <c:v>272</c:v>
                      </c:pt>
                      <c:pt idx="272">
                        <c:v>273</c:v>
                      </c:pt>
                      <c:pt idx="273">
                        <c:v>274</c:v>
                      </c:pt>
                      <c:pt idx="274">
                        <c:v>275</c:v>
                      </c:pt>
                      <c:pt idx="275">
                        <c:v>276</c:v>
                      </c:pt>
                      <c:pt idx="276">
                        <c:v>277</c:v>
                      </c:pt>
                      <c:pt idx="277">
                        <c:v>278</c:v>
                      </c:pt>
                      <c:pt idx="278">
                        <c:v>279</c:v>
                      </c:pt>
                      <c:pt idx="279">
                        <c:v>280</c:v>
                      </c:pt>
                      <c:pt idx="280">
                        <c:v>281</c:v>
                      </c:pt>
                      <c:pt idx="281">
                        <c:v>282</c:v>
                      </c:pt>
                      <c:pt idx="282">
                        <c:v>283</c:v>
                      </c:pt>
                      <c:pt idx="283">
                        <c:v>284</c:v>
                      </c:pt>
                      <c:pt idx="284">
                        <c:v>285</c:v>
                      </c:pt>
                      <c:pt idx="285">
                        <c:v>286</c:v>
                      </c:pt>
                      <c:pt idx="286">
                        <c:v>287</c:v>
                      </c:pt>
                      <c:pt idx="287">
                        <c:v>288</c:v>
                      </c:pt>
                      <c:pt idx="288">
                        <c:v>289</c:v>
                      </c:pt>
                      <c:pt idx="289">
                        <c:v>290</c:v>
                      </c:pt>
                      <c:pt idx="290">
                        <c:v>291</c:v>
                      </c:pt>
                      <c:pt idx="291">
                        <c:v>292</c:v>
                      </c:pt>
                      <c:pt idx="292">
                        <c:v>293</c:v>
                      </c:pt>
                      <c:pt idx="293">
                        <c:v>294</c:v>
                      </c:pt>
                      <c:pt idx="294">
                        <c:v>295</c:v>
                      </c:pt>
                      <c:pt idx="295">
                        <c:v>296</c:v>
                      </c:pt>
                      <c:pt idx="296">
                        <c:v>297</c:v>
                      </c:pt>
                      <c:pt idx="297">
                        <c:v>298</c:v>
                      </c:pt>
                      <c:pt idx="298">
                        <c:v>299</c:v>
                      </c:pt>
                      <c:pt idx="299">
                        <c:v>300</c:v>
                      </c:pt>
                      <c:pt idx="300">
                        <c:v>301</c:v>
                      </c:pt>
                      <c:pt idx="301">
                        <c:v>302</c:v>
                      </c:pt>
                      <c:pt idx="302">
                        <c:v>303</c:v>
                      </c:pt>
                      <c:pt idx="303">
                        <c:v>304</c:v>
                      </c:pt>
                      <c:pt idx="304">
                        <c:v>305</c:v>
                      </c:pt>
                      <c:pt idx="305">
                        <c:v>306</c:v>
                      </c:pt>
                      <c:pt idx="306">
                        <c:v>307</c:v>
                      </c:pt>
                      <c:pt idx="307">
                        <c:v>308</c:v>
                      </c:pt>
                      <c:pt idx="308">
                        <c:v>309</c:v>
                      </c:pt>
                      <c:pt idx="309">
                        <c:v>310</c:v>
                      </c:pt>
                      <c:pt idx="310">
                        <c:v>311</c:v>
                      </c:pt>
                      <c:pt idx="311">
                        <c:v>312</c:v>
                      </c:pt>
                      <c:pt idx="312">
                        <c:v>313</c:v>
                      </c:pt>
                      <c:pt idx="313">
                        <c:v>314</c:v>
                      </c:pt>
                      <c:pt idx="314">
                        <c:v>315</c:v>
                      </c:pt>
                      <c:pt idx="315">
                        <c:v>316</c:v>
                      </c:pt>
                      <c:pt idx="316">
                        <c:v>317</c:v>
                      </c:pt>
                      <c:pt idx="317">
                        <c:v>318</c:v>
                      </c:pt>
                      <c:pt idx="318">
                        <c:v>319</c:v>
                      </c:pt>
                      <c:pt idx="319">
                        <c:v>320</c:v>
                      </c:pt>
                      <c:pt idx="320">
                        <c:v>321</c:v>
                      </c:pt>
                      <c:pt idx="321">
                        <c:v>322</c:v>
                      </c:pt>
                      <c:pt idx="322">
                        <c:v>323</c:v>
                      </c:pt>
                      <c:pt idx="323">
                        <c:v>324</c:v>
                      </c:pt>
                      <c:pt idx="324">
                        <c:v>325</c:v>
                      </c:pt>
                      <c:pt idx="325">
                        <c:v>326</c:v>
                      </c:pt>
                      <c:pt idx="326">
                        <c:v>327</c:v>
                      </c:pt>
                      <c:pt idx="327">
                        <c:v>328</c:v>
                      </c:pt>
                      <c:pt idx="328">
                        <c:v>329</c:v>
                      </c:pt>
                      <c:pt idx="329">
                        <c:v>330</c:v>
                      </c:pt>
                      <c:pt idx="330">
                        <c:v>331</c:v>
                      </c:pt>
                      <c:pt idx="331">
                        <c:v>332</c:v>
                      </c:pt>
                      <c:pt idx="332">
                        <c:v>333</c:v>
                      </c:pt>
                      <c:pt idx="333">
                        <c:v>334</c:v>
                      </c:pt>
                      <c:pt idx="334">
                        <c:v>335</c:v>
                      </c:pt>
                      <c:pt idx="335">
                        <c:v>336</c:v>
                      </c:pt>
                      <c:pt idx="336">
                        <c:v>337</c:v>
                      </c:pt>
                      <c:pt idx="337">
                        <c:v>338</c:v>
                      </c:pt>
                      <c:pt idx="338">
                        <c:v>339</c:v>
                      </c:pt>
                      <c:pt idx="339">
                        <c:v>340</c:v>
                      </c:pt>
                      <c:pt idx="340">
                        <c:v>341</c:v>
                      </c:pt>
                      <c:pt idx="341">
                        <c:v>342</c:v>
                      </c:pt>
                      <c:pt idx="342">
                        <c:v>343</c:v>
                      </c:pt>
                      <c:pt idx="343">
                        <c:v>344</c:v>
                      </c:pt>
                      <c:pt idx="344">
                        <c:v>345</c:v>
                      </c:pt>
                      <c:pt idx="345">
                        <c:v>346</c:v>
                      </c:pt>
                      <c:pt idx="346">
                        <c:v>347</c:v>
                      </c:pt>
                      <c:pt idx="347">
                        <c:v>348</c:v>
                      </c:pt>
                      <c:pt idx="348">
                        <c:v>349</c:v>
                      </c:pt>
                      <c:pt idx="349">
                        <c:v>350</c:v>
                      </c:pt>
                      <c:pt idx="350">
                        <c:v>351</c:v>
                      </c:pt>
                      <c:pt idx="351">
                        <c:v>352</c:v>
                      </c:pt>
                      <c:pt idx="352">
                        <c:v>353</c:v>
                      </c:pt>
                      <c:pt idx="353">
                        <c:v>354</c:v>
                      </c:pt>
                      <c:pt idx="354">
                        <c:v>355</c:v>
                      </c:pt>
                      <c:pt idx="355">
                        <c:v>356</c:v>
                      </c:pt>
                      <c:pt idx="356">
                        <c:v>357</c:v>
                      </c:pt>
                      <c:pt idx="357">
                        <c:v>358</c:v>
                      </c:pt>
                      <c:pt idx="358">
                        <c:v>359</c:v>
                      </c:pt>
                      <c:pt idx="359">
                        <c:v>360</c:v>
                      </c:pt>
                      <c:pt idx="360">
                        <c:v>361</c:v>
                      </c:pt>
                      <c:pt idx="361">
                        <c:v>362</c:v>
                      </c:pt>
                      <c:pt idx="362">
                        <c:v>363</c:v>
                      </c:pt>
                      <c:pt idx="363">
                        <c:v>364</c:v>
                      </c:pt>
                      <c:pt idx="364">
                        <c:v>365</c:v>
                      </c:pt>
                      <c:pt idx="365">
                        <c:v>366</c:v>
                      </c:pt>
                      <c:pt idx="366">
                        <c:v>367</c:v>
                      </c:pt>
                      <c:pt idx="367">
                        <c:v>368</c:v>
                      </c:pt>
                      <c:pt idx="368">
                        <c:v>369</c:v>
                      </c:pt>
                      <c:pt idx="369">
                        <c:v>370</c:v>
                      </c:pt>
                      <c:pt idx="370">
                        <c:v>371</c:v>
                      </c:pt>
                      <c:pt idx="371">
                        <c:v>372</c:v>
                      </c:pt>
                      <c:pt idx="372">
                        <c:v>373</c:v>
                      </c:pt>
                      <c:pt idx="373">
                        <c:v>374</c:v>
                      </c:pt>
                      <c:pt idx="374">
                        <c:v>375</c:v>
                      </c:pt>
                      <c:pt idx="375">
                        <c:v>376</c:v>
                      </c:pt>
                      <c:pt idx="376">
                        <c:v>377</c:v>
                      </c:pt>
                      <c:pt idx="377">
                        <c:v>378</c:v>
                      </c:pt>
                      <c:pt idx="378">
                        <c:v>379</c:v>
                      </c:pt>
                      <c:pt idx="379">
                        <c:v>380</c:v>
                      </c:pt>
                      <c:pt idx="380">
                        <c:v>381</c:v>
                      </c:pt>
                      <c:pt idx="381">
                        <c:v>382</c:v>
                      </c:pt>
                      <c:pt idx="382">
                        <c:v>383</c:v>
                      </c:pt>
                      <c:pt idx="383">
                        <c:v>384</c:v>
                      </c:pt>
                      <c:pt idx="384">
                        <c:v>385</c:v>
                      </c:pt>
                      <c:pt idx="385">
                        <c:v>386</c:v>
                      </c:pt>
                      <c:pt idx="386">
                        <c:v>387</c:v>
                      </c:pt>
                      <c:pt idx="387">
                        <c:v>388</c:v>
                      </c:pt>
                      <c:pt idx="388">
                        <c:v>389</c:v>
                      </c:pt>
                      <c:pt idx="389">
                        <c:v>390</c:v>
                      </c:pt>
                      <c:pt idx="390">
                        <c:v>391</c:v>
                      </c:pt>
                      <c:pt idx="391">
                        <c:v>392</c:v>
                      </c:pt>
                      <c:pt idx="392">
                        <c:v>393</c:v>
                      </c:pt>
                      <c:pt idx="393">
                        <c:v>394</c:v>
                      </c:pt>
                      <c:pt idx="394">
                        <c:v>395</c:v>
                      </c:pt>
                      <c:pt idx="395">
                        <c:v>396</c:v>
                      </c:pt>
                      <c:pt idx="396">
                        <c:v>397</c:v>
                      </c:pt>
                      <c:pt idx="397">
                        <c:v>398</c:v>
                      </c:pt>
                      <c:pt idx="398">
                        <c:v>399</c:v>
                      </c:pt>
                      <c:pt idx="399">
                        <c:v>400</c:v>
                      </c:pt>
                      <c:pt idx="400">
                        <c:v>401</c:v>
                      </c:pt>
                      <c:pt idx="401">
                        <c:v>402</c:v>
                      </c:pt>
                      <c:pt idx="402">
                        <c:v>403</c:v>
                      </c:pt>
                      <c:pt idx="403">
                        <c:v>404</c:v>
                      </c:pt>
                      <c:pt idx="404">
                        <c:v>405</c:v>
                      </c:pt>
                      <c:pt idx="405">
                        <c:v>406</c:v>
                      </c:pt>
                      <c:pt idx="406">
                        <c:v>407</c:v>
                      </c:pt>
                      <c:pt idx="407">
                        <c:v>408</c:v>
                      </c:pt>
                      <c:pt idx="408">
                        <c:v>409</c:v>
                      </c:pt>
                      <c:pt idx="409">
                        <c:v>410</c:v>
                      </c:pt>
                      <c:pt idx="410">
                        <c:v>411</c:v>
                      </c:pt>
                      <c:pt idx="411">
                        <c:v>412</c:v>
                      </c:pt>
                      <c:pt idx="412">
                        <c:v>413</c:v>
                      </c:pt>
                      <c:pt idx="413">
                        <c:v>414</c:v>
                      </c:pt>
                      <c:pt idx="414">
                        <c:v>415</c:v>
                      </c:pt>
                      <c:pt idx="415">
                        <c:v>416</c:v>
                      </c:pt>
                      <c:pt idx="416">
                        <c:v>417</c:v>
                      </c:pt>
                      <c:pt idx="417">
                        <c:v>418</c:v>
                      </c:pt>
                      <c:pt idx="418">
                        <c:v>419</c:v>
                      </c:pt>
                      <c:pt idx="419">
                        <c:v>420</c:v>
                      </c:pt>
                      <c:pt idx="420">
                        <c:v>421</c:v>
                      </c:pt>
                      <c:pt idx="421">
                        <c:v>422</c:v>
                      </c:pt>
                      <c:pt idx="422">
                        <c:v>423</c:v>
                      </c:pt>
                      <c:pt idx="423">
                        <c:v>424</c:v>
                      </c:pt>
                      <c:pt idx="424">
                        <c:v>425</c:v>
                      </c:pt>
                      <c:pt idx="425">
                        <c:v>426</c:v>
                      </c:pt>
                      <c:pt idx="426">
                        <c:v>427</c:v>
                      </c:pt>
                      <c:pt idx="427">
                        <c:v>428</c:v>
                      </c:pt>
                      <c:pt idx="428">
                        <c:v>429</c:v>
                      </c:pt>
                      <c:pt idx="429">
                        <c:v>430</c:v>
                      </c:pt>
                      <c:pt idx="430">
                        <c:v>431</c:v>
                      </c:pt>
                      <c:pt idx="431">
                        <c:v>432</c:v>
                      </c:pt>
                      <c:pt idx="432">
                        <c:v>433</c:v>
                      </c:pt>
                      <c:pt idx="433">
                        <c:v>434</c:v>
                      </c:pt>
                      <c:pt idx="434">
                        <c:v>435</c:v>
                      </c:pt>
                      <c:pt idx="435">
                        <c:v>436</c:v>
                      </c:pt>
                      <c:pt idx="436">
                        <c:v>437</c:v>
                      </c:pt>
                      <c:pt idx="437">
                        <c:v>438</c:v>
                      </c:pt>
                      <c:pt idx="438">
                        <c:v>439</c:v>
                      </c:pt>
                      <c:pt idx="439">
                        <c:v>440</c:v>
                      </c:pt>
                      <c:pt idx="440">
                        <c:v>441</c:v>
                      </c:pt>
                      <c:pt idx="441">
                        <c:v>442</c:v>
                      </c:pt>
                      <c:pt idx="442">
                        <c:v>443</c:v>
                      </c:pt>
                      <c:pt idx="443">
                        <c:v>444</c:v>
                      </c:pt>
                      <c:pt idx="444">
                        <c:v>445</c:v>
                      </c:pt>
                      <c:pt idx="445">
                        <c:v>446</c:v>
                      </c:pt>
                      <c:pt idx="446">
                        <c:v>447</c:v>
                      </c:pt>
                      <c:pt idx="447">
                        <c:v>448</c:v>
                      </c:pt>
                      <c:pt idx="448">
                        <c:v>449</c:v>
                      </c:pt>
                      <c:pt idx="449">
                        <c:v>450</c:v>
                      </c:pt>
                      <c:pt idx="450">
                        <c:v>451</c:v>
                      </c:pt>
                      <c:pt idx="451">
                        <c:v>452</c:v>
                      </c:pt>
                      <c:pt idx="452">
                        <c:v>453</c:v>
                      </c:pt>
                      <c:pt idx="453">
                        <c:v>454</c:v>
                      </c:pt>
                      <c:pt idx="454">
                        <c:v>455</c:v>
                      </c:pt>
                      <c:pt idx="455">
                        <c:v>456</c:v>
                      </c:pt>
                      <c:pt idx="456">
                        <c:v>457</c:v>
                      </c:pt>
                      <c:pt idx="457">
                        <c:v>458</c:v>
                      </c:pt>
                      <c:pt idx="458">
                        <c:v>459</c:v>
                      </c:pt>
                      <c:pt idx="459">
                        <c:v>460</c:v>
                      </c:pt>
                      <c:pt idx="460">
                        <c:v>461</c:v>
                      </c:pt>
                      <c:pt idx="461">
                        <c:v>462</c:v>
                      </c:pt>
                      <c:pt idx="462">
                        <c:v>463</c:v>
                      </c:pt>
                      <c:pt idx="463">
                        <c:v>464</c:v>
                      </c:pt>
                      <c:pt idx="464">
                        <c:v>465</c:v>
                      </c:pt>
                      <c:pt idx="465">
                        <c:v>466</c:v>
                      </c:pt>
                      <c:pt idx="466">
                        <c:v>467</c:v>
                      </c:pt>
                      <c:pt idx="467">
                        <c:v>468</c:v>
                      </c:pt>
                      <c:pt idx="468">
                        <c:v>469</c:v>
                      </c:pt>
                      <c:pt idx="469">
                        <c:v>470</c:v>
                      </c:pt>
                      <c:pt idx="470">
                        <c:v>471</c:v>
                      </c:pt>
                      <c:pt idx="471">
                        <c:v>472</c:v>
                      </c:pt>
                      <c:pt idx="472">
                        <c:v>473</c:v>
                      </c:pt>
                      <c:pt idx="473">
                        <c:v>474</c:v>
                      </c:pt>
                      <c:pt idx="474">
                        <c:v>475</c:v>
                      </c:pt>
                      <c:pt idx="475">
                        <c:v>476</c:v>
                      </c:pt>
                      <c:pt idx="476">
                        <c:v>477</c:v>
                      </c:pt>
                      <c:pt idx="477">
                        <c:v>478</c:v>
                      </c:pt>
                      <c:pt idx="478">
                        <c:v>479</c:v>
                      </c:pt>
                      <c:pt idx="479">
                        <c:v>480</c:v>
                      </c:pt>
                      <c:pt idx="480">
                        <c:v>481</c:v>
                      </c:pt>
                      <c:pt idx="481">
                        <c:v>482</c:v>
                      </c:pt>
                      <c:pt idx="482">
                        <c:v>483</c:v>
                      </c:pt>
                      <c:pt idx="483">
                        <c:v>484</c:v>
                      </c:pt>
                      <c:pt idx="484">
                        <c:v>485</c:v>
                      </c:pt>
                      <c:pt idx="485">
                        <c:v>486</c:v>
                      </c:pt>
                      <c:pt idx="486">
                        <c:v>487</c:v>
                      </c:pt>
                      <c:pt idx="487">
                        <c:v>488</c:v>
                      </c:pt>
                      <c:pt idx="488">
                        <c:v>489</c:v>
                      </c:pt>
                      <c:pt idx="489">
                        <c:v>490</c:v>
                      </c:pt>
                      <c:pt idx="490">
                        <c:v>491</c:v>
                      </c:pt>
                      <c:pt idx="491">
                        <c:v>492</c:v>
                      </c:pt>
                      <c:pt idx="492">
                        <c:v>493</c:v>
                      </c:pt>
                      <c:pt idx="493">
                        <c:v>494</c:v>
                      </c:pt>
                      <c:pt idx="494">
                        <c:v>495</c:v>
                      </c:pt>
                      <c:pt idx="495">
                        <c:v>496</c:v>
                      </c:pt>
                      <c:pt idx="496">
                        <c:v>497</c:v>
                      </c:pt>
                      <c:pt idx="497">
                        <c:v>498</c:v>
                      </c:pt>
                      <c:pt idx="498">
                        <c:v>499</c:v>
                      </c:pt>
                      <c:pt idx="499">
                        <c:v>500</c:v>
                      </c:pt>
                      <c:pt idx="500">
                        <c:v>501</c:v>
                      </c:pt>
                      <c:pt idx="501">
                        <c:v>502</c:v>
                      </c:pt>
                      <c:pt idx="502">
                        <c:v>503</c:v>
                      </c:pt>
                      <c:pt idx="503">
                        <c:v>504</c:v>
                      </c:pt>
                      <c:pt idx="504">
                        <c:v>505</c:v>
                      </c:pt>
                      <c:pt idx="505">
                        <c:v>506</c:v>
                      </c:pt>
                      <c:pt idx="506">
                        <c:v>507</c:v>
                      </c:pt>
                      <c:pt idx="507">
                        <c:v>508</c:v>
                      </c:pt>
                      <c:pt idx="508">
                        <c:v>509</c:v>
                      </c:pt>
                    </c:numCache>
                  </c:numRef>
                </c:cat>
                <c:val>
                  <c:numRef>
                    <c:extLst xmlns:c15="http://schemas.microsoft.com/office/drawing/2012/chart">
                      <c:ext xmlns:c15="http://schemas.microsoft.com/office/drawing/2012/chart" uri="{02D57815-91ED-43cb-92C2-25804820EDAC}">
                        <c15:formulaRef>
                          <c15:sqref>Chart!$C$5:$C$513</c15:sqref>
                        </c15:formulaRef>
                      </c:ext>
                    </c:extLst>
                    <c:numCache>
                      <c:formatCode>0%</c:formatCode>
                      <c:ptCount val="509"/>
                      <c:pt idx="0">
                        <c:v>-2.4786000000000001E-3</c:v>
                      </c:pt>
                      <c:pt idx="1">
                        <c:v>2.8598352763800072E-3</c:v>
                      </c:pt>
                      <c:pt idx="2">
                        <c:v>3.7368843924141304E-2</c:v>
                      </c:pt>
                      <c:pt idx="3">
                        <c:v>4.3851258092938661E-2</c:v>
                      </c:pt>
                      <c:pt idx="4">
                        <c:v>6.5014298499514789E-2</c:v>
                      </c:pt>
                      <c:pt idx="5">
                        <c:v>7.7025742760852056E-2</c:v>
                      </c:pt>
                      <c:pt idx="6">
                        <c:v>8.3126770485869583E-2</c:v>
                      </c:pt>
                      <c:pt idx="7">
                        <c:v>7.0924697540283965E-2</c:v>
                      </c:pt>
                      <c:pt idx="8">
                        <c:v>7.8169717304083619E-2</c:v>
                      </c:pt>
                      <c:pt idx="9">
                        <c:v>9.0562523485691937E-2</c:v>
                      </c:pt>
                      <c:pt idx="10">
                        <c:v>0.10066734865955329</c:v>
                      </c:pt>
                      <c:pt idx="11">
                        <c:v>0.1063870766035977</c:v>
                      </c:pt>
                      <c:pt idx="12">
                        <c:v>0.10257391354408329</c:v>
                      </c:pt>
                      <c:pt idx="13">
                        <c:v>0.10257391354408329</c:v>
                      </c:pt>
                      <c:pt idx="14">
                        <c:v>8.2554809768037307E-2</c:v>
                      </c:pt>
                      <c:pt idx="15">
                        <c:v>7.1496620641737785E-2</c:v>
                      </c:pt>
                      <c:pt idx="16">
                        <c:v>7.569110131290202E-2</c:v>
                      </c:pt>
                      <c:pt idx="17">
                        <c:v>8.3126708481617406E-2</c:v>
                      </c:pt>
                      <c:pt idx="18">
                        <c:v>8.2936078180924744E-2</c:v>
                      </c:pt>
                      <c:pt idx="19">
                        <c:v>7.4547113851296309E-2</c:v>
                      </c:pt>
                      <c:pt idx="20">
                        <c:v>7.6453682795402544E-2</c:v>
                      </c:pt>
                      <c:pt idx="21">
                        <c:v>8.2364059386158983E-2</c:v>
                      </c:pt>
                      <c:pt idx="22">
                        <c:v>9.0562317717573393E-2</c:v>
                      </c:pt>
                      <c:pt idx="23">
                        <c:v>0.10257377108491483</c:v>
                      </c:pt>
                      <c:pt idx="24">
                        <c:v>0.11020005334475491</c:v>
                      </c:pt>
                      <c:pt idx="25">
                        <c:v>0.10104845226502346</c:v>
                      </c:pt>
                      <c:pt idx="26">
                        <c:v>0.10543359793585916</c:v>
                      </c:pt>
                      <c:pt idx="27">
                        <c:v>0.10810277790143519</c:v>
                      </c:pt>
                      <c:pt idx="28">
                        <c:v>0.10104848480703676</c:v>
                      </c:pt>
                      <c:pt idx="29">
                        <c:v>9.3612884179437916E-2</c:v>
                      </c:pt>
                      <c:pt idx="30">
                        <c:v>9.647279123285557E-2</c:v>
                      </c:pt>
                      <c:pt idx="31">
                        <c:v>9.5710194406553262E-2</c:v>
                      </c:pt>
                      <c:pt idx="32">
                        <c:v>9.7235422997167253E-2</c:v>
                      </c:pt>
                      <c:pt idx="33">
                        <c:v>9.8760689958675707E-2</c:v>
                      </c:pt>
                      <c:pt idx="34">
                        <c:v>0.11058148708945814</c:v>
                      </c:pt>
                      <c:pt idx="35">
                        <c:v>0.11839842594448591</c:v>
                      </c:pt>
                      <c:pt idx="36">
                        <c:v>0.11801716392108141</c:v>
                      </c:pt>
                      <c:pt idx="37">
                        <c:v>0.12507151682027429</c:v>
                      </c:pt>
                      <c:pt idx="38">
                        <c:v>0.13193524062293971</c:v>
                      </c:pt>
                      <c:pt idx="39">
                        <c:v>0.12716877451820063</c:v>
                      </c:pt>
                      <c:pt idx="40">
                        <c:v>0.13975214856628937</c:v>
                      </c:pt>
                      <c:pt idx="41">
                        <c:v>0.13822693224107807</c:v>
                      </c:pt>
                      <c:pt idx="42">
                        <c:v>0.13593898228458023</c:v>
                      </c:pt>
                      <c:pt idx="43">
                        <c:v>0.13536703700699992</c:v>
                      </c:pt>
                      <c:pt idx="44">
                        <c:v>0.12087702873390183</c:v>
                      </c:pt>
                      <c:pt idx="45">
                        <c:v>0.11839843336026257</c:v>
                      </c:pt>
                      <c:pt idx="46">
                        <c:v>0.11877969538619526</c:v>
                      </c:pt>
                      <c:pt idx="47">
                        <c:v>0.12716864117610949</c:v>
                      </c:pt>
                      <c:pt idx="48">
                        <c:v>0.11649176165629704</c:v>
                      </c:pt>
                      <c:pt idx="49">
                        <c:v>0.10810277750674024</c:v>
                      </c:pt>
                      <c:pt idx="50">
                        <c:v>0.11267857711617668</c:v>
                      </c:pt>
                      <c:pt idx="51">
                        <c:v>0.11305989206455447</c:v>
                      </c:pt>
                      <c:pt idx="52">
                        <c:v>0.11439445087513977</c:v>
                      </c:pt>
                      <c:pt idx="53">
                        <c:v>0.11706364846387585</c:v>
                      </c:pt>
                      <c:pt idx="54">
                        <c:v>0.12183004734550629</c:v>
                      </c:pt>
                      <c:pt idx="55">
                        <c:v>0.11916087711385726</c:v>
                      </c:pt>
                      <c:pt idx="56">
                        <c:v>0.12278337704089948</c:v>
                      </c:pt>
                      <c:pt idx="57">
                        <c:v>0.1264059253285843</c:v>
                      </c:pt>
                      <c:pt idx="58">
                        <c:v>0.12545264799397882</c:v>
                      </c:pt>
                      <c:pt idx="59">
                        <c:v>0.12392743456541733</c:v>
                      </c:pt>
                      <c:pt idx="60">
                        <c:v>0.11611051925801474</c:v>
                      </c:pt>
                      <c:pt idx="61">
                        <c:v>9.990459451838829E-2</c:v>
                      </c:pt>
                      <c:pt idx="62">
                        <c:v>7.9694837508248018E-2</c:v>
                      </c:pt>
                      <c:pt idx="63">
                        <c:v>8.598654323485988E-2</c:v>
                      </c:pt>
                      <c:pt idx="64">
                        <c:v>7.0543271596788637E-2</c:v>
                      </c:pt>
                      <c:pt idx="65">
                        <c:v>6.3298262951930306E-2</c:v>
                      </c:pt>
                      <c:pt idx="66">
                        <c:v>7.2831157198599339E-2</c:v>
                      </c:pt>
                      <c:pt idx="67">
                        <c:v>5.7959893546859487E-2</c:v>
                      </c:pt>
                      <c:pt idx="68">
                        <c:v>6.9590046656620164E-2</c:v>
                      </c:pt>
                      <c:pt idx="69">
                        <c:v>7.073397321151953E-2</c:v>
                      </c:pt>
                      <c:pt idx="70">
                        <c:v>8.1029508657537441E-2</c:v>
                      </c:pt>
                      <c:pt idx="71">
                        <c:v>8.8083874819233188E-2</c:v>
                      </c:pt>
                      <c:pt idx="72">
                        <c:v>8.8083874819233188E-2</c:v>
                      </c:pt>
                      <c:pt idx="73">
                        <c:v>9.0562421077683863E-2</c:v>
                      </c:pt>
                      <c:pt idx="74">
                        <c:v>9.132505137874336E-2</c:v>
                      </c:pt>
                      <c:pt idx="75">
                        <c:v>8.7702507003196706E-2</c:v>
                      </c:pt>
                      <c:pt idx="76">
                        <c:v>8.5795982048921582E-2</c:v>
                      </c:pt>
                      <c:pt idx="77">
                        <c:v>9.1897069672054466E-2</c:v>
                      </c:pt>
                      <c:pt idx="78">
                        <c:v>8.8274591953710457E-2</c:v>
                      </c:pt>
                      <c:pt idx="79">
                        <c:v>8.4652052319474258E-2</c:v>
                      </c:pt>
                      <c:pt idx="80">
                        <c:v>7.4165853208060017E-2</c:v>
                      </c:pt>
                      <c:pt idx="81">
                        <c:v>5.9866557370154228E-2</c:v>
                      </c:pt>
                      <c:pt idx="82">
                        <c:v>4.7855089675478135E-2</c:v>
                      </c:pt>
                      <c:pt idx="83">
                        <c:v>1.9828423948454965E-2</c:v>
                      </c:pt>
                      <c:pt idx="84">
                        <c:v>5.2621516834729487E-2</c:v>
                      </c:pt>
                      <c:pt idx="85">
                        <c:v>4.2707295816269752E-2</c:v>
                      </c:pt>
                      <c:pt idx="86">
                        <c:v>3.9847462516034549E-2</c:v>
                      </c:pt>
                      <c:pt idx="87">
                        <c:v>6.2345082291300091E-2</c:v>
                      </c:pt>
                      <c:pt idx="88">
                        <c:v>7.7978977460331667E-2</c:v>
                      </c:pt>
                      <c:pt idx="89">
                        <c:v>7.7597696296003882E-2</c:v>
                      </c:pt>
                      <c:pt idx="90">
                        <c:v>8.9037150160573342E-2</c:v>
                      </c:pt>
                      <c:pt idx="91">
                        <c:v>0.10104857650455434</c:v>
                      </c:pt>
                      <c:pt idx="92">
                        <c:v>0.11248803079500624</c:v>
                      </c:pt>
                      <c:pt idx="93">
                        <c:v>0.11935174819860217</c:v>
                      </c:pt>
                      <c:pt idx="94">
                        <c:v>0.11191611840566851</c:v>
                      </c:pt>
                      <c:pt idx="95">
                        <c:v>0.12068635678959327</c:v>
                      </c:pt>
                      <c:pt idx="96">
                        <c:v>0.13612963892342522</c:v>
                      </c:pt>
                      <c:pt idx="97">
                        <c:v>0.13365105850314984</c:v>
                      </c:pt>
                      <c:pt idx="98">
                        <c:v>0.14699707895448411</c:v>
                      </c:pt>
                      <c:pt idx="99">
                        <c:v>0.14337463277973006</c:v>
                      </c:pt>
                      <c:pt idx="100">
                        <c:v>0.14699718662876604</c:v>
                      </c:pt>
                      <c:pt idx="101">
                        <c:v>0.14051481732881488</c:v>
                      </c:pt>
                      <c:pt idx="102">
                        <c:v>0.15252626317899498</c:v>
                      </c:pt>
                      <c:pt idx="103">
                        <c:v>0.15938990283410504</c:v>
                      </c:pt>
                      <c:pt idx="104">
                        <c:v>0.17330791486166741</c:v>
                      </c:pt>
                      <c:pt idx="105">
                        <c:v>0.16987610654148844</c:v>
                      </c:pt>
                      <c:pt idx="106">
                        <c:v>0.1769304594639336</c:v>
                      </c:pt>
                      <c:pt idx="107">
                        <c:v>0.18436607072073485</c:v>
                      </c:pt>
                      <c:pt idx="108">
                        <c:v>0.18989516528528738</c:v>
                      </c:pt>
                      <c:pt idx="109">
                        <c:v>0.18703525225552409</c:v>
                      </c:pt>
                      <c:pt idx="110">
                        <c:v>0.18093424716950635</c:v>
                      </c:pt>
                      <c:pt idx="111">
                        <c:v>0.19428033937704314</c:v>
                      </c:pt>
                      <c:pt idx="112">
                        <c:v>0.19904683163953085</c:v>
                      </c:pt>
                      <c:pt idx="113">
                        <c:v>0.19980942542445379</c:v>
                      </c:pt>
                      <c:pt idx="114">
                        <c:v>0.20228799173549561</c:v>
                      </c:pt>
                      <c:pt idx="115">
                        <c:v>0.1872259682326316</c:v>
                      </c:pt>
                      <c:pt idx="116">
                        <c:v>0.18817931068512261</c:v>
                      </c:pt>
                      <c:pt idx="117">
                        <c:v>0.19408967103026353</c:v>
                      </c:pt>
                      <c:pt idx="118">
                        <c:v>0.19008588836329898</c:v>
                      </c:pt>
                      <c:pt idx="119">
                        <c:v>0.19294578376162486</c:v>
                      </c:pt>
                      <c:pt idx="120">
                        <c:v>0.18913265185840911</c:v>
                      </c:pt>
                      <c:pt idx="121">
                        <c:v>0.18341292380297025</c:v>
                      </c:pt>
                      <c:pt idx="122">
                        <c:v>0.19313643609139741</c:v>
                      </c:pt>
                      <c:pt idx="123">
                        <c:v>0.19771223363745172</c:v>
                      </c:pt>
                      <c:pt idx="124">
                        <c:v>0.19428042877441043</c:v>
                      </c:pt>
                      <c:pt idx="125">
                        <c:v>0.19408982161797805</c:v>
                      </c:pt>
                      <c:pt idx="126">
                        <c:v>0.20152541893719311</c:v>
                      </c:pt>
                      <c:pt idx="127">
                        <c:v>0.19980952048640876</c:v>
                      </c:pt>
                      <c:pt idx="128">
                        <c:v>0.20038146968482473</c:v>
                      </c:pt>
                      <c:pt idx="129">
                        <c:v>0.2030506379208159</c:v>
                      </c:pt>
                      <c:pt idx="130">
                        <c:v>0.19523369609586161</c:v>
                      </c:pt>
                      <c:pt idx="131">
                        <c:v>0.21487150524608634</c:v>
                      </c:pt>
                      <c:pt idx="132">
                        <c:v>0.22268847445944173</c:v>
                      </c:pt>
                      <c:pt idx="133">
                        <c:v>0.22249785732627347</c:v>
                      </c:pt>
                      <c:pt idx="134">
                        <c:v>0.23431867810790408</c:v>
                      </c:pt>
                      <c:pt idx="135">
                        <c:v>0.23145876173072799</c:v>
                      </c:pt>
                      <c:pt idx="136">
                        <c:v>0.23374668896414752</c:v>
                      </c:pt>
                      <c:pt idx="137">
                        <c:v>0.23641589992572154</c:v>
                      </c:pt>
                      <c:pt idx="138">
                        <c:v>0.24308896017921056</c:v>
                      </c:pt>
                      <c:pt idx="139">
                        <c:v>0.24137300017857921</c:v>
                      </c:pt>
                      <c:pt idx="140">
                        <c:v>0.23298404971797226</c:v>
                      </c:pt>
                      <c:pt idx="141">
                        <c:v>0.24175426526361621</c:v>
                      </c:pt>
                      <c:pt idx="142">
                        <c:v>0.24270756001305904</c:v>
                      </c:pt>
                      <c:pt idx="143">
                        <c:v>0.24461412195163112</c:v>
                      </c:pt>
                      <c:pt idx="144">
                        <c:v>0.2476646711645345</c:v>
                      </c:pt>
                      <c:pt idx="145">
                        <c:v>0.25109649760903952</c:v>
                      </c:pt>
                      <c:pt idx="146">
                        <c:v>0.25357504488045279</c:v>
                      </c:pt>
                      <c:pt idx="147">
                        <c:v>0.25681628851649574</c:v>
                      </c:pt>
                      <c:pt idx="148">
                        <c:v>0.26291737750747002</c:v>
                      </c:pt>
                      <c:pt idx="149">
                        <c:v>0.26272667698346641</c:v>
                      </c:pt>
                      <c:pt idx="150">
                        <c:v>0.25548165640160603</c:v>
                      </c:pt>
                      <c:pt idx="151">
                        <c:v>0.26215466695354617</c:v>
                      </c:pt>
                      <c:pt idx="152">
                        <c:v>0.2642518631481563</c:v>
                      </c:pt>
                      <c:pt idx="153">
                        <c:v>0.26158264818949162</c:v>
                      </c:pt>
                      <c:pt idx="154">
                        <c:v>0.2604386450441134</c:v>
                      </c:pt>
                      <c:pt idx="155">
                        <c:v>0.2659676852044639</c:v>
                      </c:pt>
                      <c:pt idx="156">
                        <c:v>0.26158249973968428</c:v>
                      </c:pt>
                      <c:pt idx="157">
                        <c:v>0.26158249973968428</c:v>
                      </c:pt>
                      <c:pt idx="158">
                        <c:v>0.25376548225479723</c:v>
                      </c:pt>
                      <c:pt idx="159">
                        <c:v>0.2551001156106576</c:v>
                      </c:pt>
                      <c:pt idx="160">
                        <c:v>0.26120115727264093</c:v>
                      </c:pt>
                      <c:pt idx="161">
                        <c:v>0.265014272851539</c:v>
                      </c:pt>
                      <c:pt idx="162">
                        <c:v>0.26615822525847865</c:v>
                      </c:pt>
                      <c:pt idx="163">
                        <c:v>0.26825548974279667</c:v>
                      </c:pt>
                      <c:pt idx="164">
                        <c:v>0.26215441988383992</c:v>
                      </c:pt>
                      <c:pt idx="165">
                        <c:v>0.25510011261566712</c:v>
                      </c:pt>
                      <c:pt idx="166">
                        <c:v>0.2568160854896353</c:v>
                      </c:pt>
                      <c:pt idx="167">
                        <c:v>0.24804577148187157</c:v>
                      </c:pt>
                      <c:pt idx="168">
                        <c:v>0.24823647287575401</c:v>
                      </c:pt>
                      <c:pt idx="169">
                        <c:v>0.23946623859368166</c:v>
                      </c:pt>
                      <c:pt idx="170">
                        <c:v>0.22573890210800895</c:v>
                      </c:pt>
                      <c:pt idx="171">
                        <c:v>0.22211635335671898</c:v>
                      </c:pt>
                      <c:pt idx="172">
                        <c:v>0.23393715157292649</c:v>
                      </c:pt>
                      <c:pt idx="173">
                        <c:v>0.23431843815276232</c:v>
                      </c:pt>
                      <c:pt idx="174">
                        <c:v>0.2364156686110277</c:v>
                      </c:pt>
                      <c:pt idx="175">
                        <c:v>0.24423265939268712</c:v>
                      </c:pt>
                      <c:pt idx="176">
                        <c:v>0.24556722334315184</c:v>
                      </c:pt>
                      <c:pt idx="177">
                        <c:v>0.24899901015690684</c:v>
                      </c:pt>
                      <c:pt idx="178">
                        <c:v>0.25204956533931422</c:v>
                      </c:pt>
                      <c:pt idx="179">
                        <c:v>0.25662530568080322</c:v>
                      </c:pt>
                      <c:pt idx="180">
                        <c:v>0.25071489421806414</c:v>
                      </c:pt>
                      <c:pt idx="181">
                        <c:v>0.25700661549342807</c:v>
                      </c:pt>
                      <c:pt idx="182">
                        <c:v>0.25090560818446916</c:v>
                      </c:pt>
                      <c:pt idx="183">
                        <c:v>0.2482364257977252</c:v>
                      </c:pt>
                      <c:pt idx="184">
                        <c:v>0.25738799597710393</c:v>
                      </c:pt>
                      <c:pt idx="185">
                        <c:v>0.25548141855880391</c:v>
                      </c:pt>
                      <c:pt idx="186">
                        <c:v>0.26196372021910652</c:v>
                      </c:pt>
                      <c:pt idx="187">
                        <c:v>0.26234508565535664</c:v>
                      </c:pt>
                      <c:pt idx="188">
                        <c:v>0.26596763734766182</c:v>
                      </c:pt>
                      <c:pt idx="189">
                        <c:v>0.27130609627759328</c:v>
                      </c:pt>
                      <c:pt idx="190">
                        <c:v>0.26939951852500577</c:v>
                      </c:pt>
                      <c:pt idx="191">
                        <c:v>0.26920885471732325</c:v>
                      </c:pt>
                      <c:pt idx="192">
                        <c:v>0.27454727408114987</c:v>
                      </c:pt>
                      <c:pt idx="193">
                        <c:v>0.27435660180894739</c:v>
                      </c:pt>
                      <c:pt idx="194">
                        <c:v>0.28427084129970059</c:v>
                      </c:pt>
                      <c:pt idx="195">
                        <c:v>0.29361301268056694</c:v>
                      </c:pt>
                      <c:pt idx="196">
                        <c:v>0.30181128514843025</c:v>
                      </c:pt>
                      <c:pt idx="197">
                        <c:v>0.30638702163459852</c:v>
                      </c:pt>
                      <c:pt idx="198">
                        <c:v>0.30505241665329663</c:v>
                      </c:pt>
                      <c:pt idx="199">
                        <c:v>0.30200185662936962</c:v>
                      </c:pt>
                      <c:pt idx="200">
                        <c:v>0.31115336727924614</c:v>
                      </c:pt>
                      <c:pt idx="201">
                        <c:v>0.3172544261278698</c:v>
                      </c:pt>
                      <c:pt idx="202">
                        <c:v>0.3182077231560585</c:v>
                      </c:pt>
                      <c:pt idx="203">
                        <c:v>0.31401331800174836</c:v>
                      </c:pt>
                      <c:pt idx="204">
                        <c:v>0.31344132800442215</c:v>
                      </c:pt>
                      <c:pt idx="205">
                        <c:v>0.31992368633465507</c:v>
                      </c:pt>
                      <c:pt idx="206">
                        <c:v>0.32125826117390788</c:v>
                      </c:pt>
                      <c:pt idx="207">
                        <c:v>0.32564338521691805</c:v>
                      </c:pt>
                      <c:pt idx="208">
                        <c:v>0.3292658383313618</c:v>
                      </c:pt>
                      <c:pt idx="209">
                        <c:v>0.33002843814281246</c:v>
                      </c:pt>
                      <c:pt idx="210">
                        <c:v>0.32888448068316589</c:v>
                      </c:pt>
                      <c:pt idx="211">
                        <c:v>0.32793113895672388</c:v>
                      </c:pt>
                      <c:pt idx="212">
                        <c:v>0.33079097145758096</c:v>
                      </c:pt>
                      <c:pt idx="213">
                        <c:v>0.33403211286856593</c:v>
                      </c:pt>
                      <c:pt idx="214">
                        <c:v>0.33784531025998943</c:v>
                      </c:pt>
                      <c:pt idx="215">
                        <c:v>0.33517604129695866</c:v>
                      </c:pt>
                      <c:pt idx="216">
                        <c:v>0.3256431513973066</c:v>
                      </c:pt>
                      <c:pt idx="217">
                        <c:v>0.32392723890213793</c:v>
                      </c:pt>
                      <c:pt idx="218">
                        <c:v>0.33479469564266617</c:v>
                      </c:pt>
                      <c:pt idx="219">
                        <c:v>0.34127699260258515</c:v>
                      </c:pt>
                      <c:pt idx="220">
                        <c:v>0.34451818845520932</c:v>
                      </c:pt>
                      <c:pt idx="221">
                        <c:v>0.34375557773871757</c:v>
                      </c:pt>
                      <c:pt idx="222">
                        <c:v>0.3386077844959583</c:v>
                      </c:pt>
                      <c:pt idx="223">
                        <c:v>0.34280231198867628</c:v>
                      </c:pt>
                      <c:pt idx="224">
                        <c:v>0.33937051211992686</c:v>
                      </c:pt>
                      <c:pt idx="225">
                        <c:v>0.34013314968952812</c:v>
                      </c:pt>
                      <c:pt idx="226">
                        <c:v>0.33384149257836571</c:v>
                      </c:pt>
                      <c:pt idx="227">
                        <c:v>0.33727333335462073</c:v>
                      </c:pt>
                      <c:pt idx="228">
                        <c:v>0.33727333335462073</c:v>
                      </c:pt>
                      <c:pt idx="229">
                        <c:v>0.33651068637260861</c:v>
                      </c:pt>
                      <c:pt idx="230">
                        <c:v>0.33498546037732035</c:v>
                      </c:pt>
                      <c:pt idx="231">
                        <c:v>0.33212565452410003</c:v>
                      </c:pt>
                      <c:pt idx="232">
                        <c:v>0.33479483469806981</c:v>
                      </c:pt>
                      <c:pt idx="233">
                        <c:v>0.34089591492850779</c:v>
                      </c:pt>
                      <c:pt idx="234">
                        <c:v>0.34985685414879208</c:v>
                      </c:pt>
                      <c:pt idx="235">
                        <c:v>0.34775958155450115</c:v>
                      </c:pt>
                      <c:pt idx="236">
                        <c:v>0.34795028953529106</c:v>
                      </c:pt>
                      <c:pt idx="237">
                        <c:v>0.34470914306410338</c:v>
                      </c:pt>
                      <c:pt idx="238">
                        <c:v>0.34566240737562159</c:v>
                      </c:pt>
                      <c:pt idx="239">
                        <c:v>0.34242124490121673</c:v>
                      </c:pt>
                      <c:pt idx="240">
                        <c:v>0.33346031460725212</c:v>
                      </c:pt>
                      <c:pt idx="241">
                        <c:v>0.33517621134008868</c:v>
                      </c:pt>
                      <c:pt idx="242">
                        <c:v>0.34242114449806227</c:v>
                      </c:pt>
                      <c:pt idx="243">
                        <c:v>0.33898924484215298</c:v>
                      </c:pt>
                      <c:pt idx="244">
                        <c:v>0.3393705889790839</c:v>
                      </c:pt>
                      <c:pt idx="245">
                        <c:v>0.33346021444403706</c:v>
                      </c:pt>
                      <c:pt idx="246">
                        <c:v>0.33498542623731797</c:v>
                      </c:pt>
                      <c:pt idx="247">
                        <c:v>0.33632001116792742</c:v>
                      </c:pt>
                      <c:pt idx="248">
                        <c:v>0.33479473550718031</c:v>
                      </c:pt>
                      <c:pt idx="249">
                        <c:v>0.33937054533997246</c:v>
                      </c:pt>
                      <c:pt idx="250">
                        <c:v>0.33841731532285402</c:v>
                      </c:pt>
                      <c:pt idx="251">
                        <c:v>0.33536679457777008</c:v>
                      </c:pt>
                      <c:pt idx="252">
                        <c:v>0.32335530379722255</c:v>
                      </c:pt>
                      <c:pt idx="253">
                        <c:v>0.31687298017710219</c:v>
                      </c:pt>
                      <c:pt idx="254">
                        <c:v>0.32259268627920346</c:v>
                      </c:pt>
                      <c:pt idx="255">
                        <c:v>0.31286911710894749</c:v>
                      </c:pt>
                      <c:pt idx="256">
                        <c:v>0.32430853958705286</c:v>
                      </c:pt>
                      <c:pt idx="257">
                        <c:v>0.33346017374986925</c:v>
                      </c:pt>
                      <c:pt idx="258">
                        <c:v>0.33879854820945954</c:v>
                      </c:pt>
                      <c:pt idx="259">
                        <c:v>0.32964692297346421</c:v>
                      </c:pt>
                      <c:pt idx="260">
                        <c:v>0.33536666514201929</c:v>
                      </c:pt>
                      <c:pt idx="261">
                        <c:v>0.33250684389195118</c:v>
                      </c:pt>
                      <c:pt idx="262">
                        <c:v>0.33002824791162766</c:v>
                      </c:pt>
                      <c:pt idx="263">
                        <c:v>0.32774033331957009</c:v>
                      </c:pt>
                      <c:pt idx="264">
                        <c:v>0.31935140434559028</c:v>
                      </c:pt>
                      <c:pt idx="265">
                        <c:v>0.31820739474288229</c:v>
                      </c:pt>
                      <c:pt idx="266">
                        <c:v>0.31420360342282971</c:v>
                      </c:pt>
                      <c:pt idx="267">
                        <c:v>0.30581464756110077</c:v>
                      </c:pt>
                      <c:pt idx="268">
                        <c:v>0.30314543184002107</c:v>
                      </c:pt>
                      <c:pt idx="269">
                        <c:v>0.29456578294587277</c:v>
                      </c:pt>
                      <c:pt idx="270">
                        <c:v>0.2947564724857008</c:v>
                      </c:pt>
                      <c:pt idx="271">
                        <c:v>0.3018108236503918</c:v>
                      </c:pt>
                      <c:pt idx="272">
                        <c:v>0.30142952326014449</c:v>
                      </c:pt>
                      <c:pt idx="273">
                        <c:v>0.30676798716455767</c:v>
                      </c:pt>
                      <c:pt idx="274">
                        <c:v>0.30924653400581281</c:v>
                      </c:pt>
                      <c:pt idx="275">
                        <c:v>0.32011406578598156</c:v>
                      </c:pt>
                      <c:pt idx="276">
                        <c:v>0.3180168005696673</c:v>
                      </c:pt>
                      <c:pt idx="277">
                        <c:v>0.31687289378845285</c:v>
                      </c:pt>
                      <c:pt idx="278">
                        <c:v>0.32125808052476845</c:v>
                      </c:pt>
                      <c:pt idx="279">
                        <c:v>0.32907503970657714</c:v>
                      </c:pt>
                      <c:pt idx="280">
                        <c:v>0.33784534007859279</c:v>
                      </c:pt>
                      <c:pt idx="281">
                        <c:v>0.33384157032933959</c:v>
                      </c:pt>
                      <c:pt idx="282">
                        <c:v>0.33498547286005409</c:v>
                      </c:pt>
                      <c:pt idx="283">
                        <c:v>0.34375579342255547</c:v>
                      </c:pt>
                      <c:pt idx="284">
                        <c:v>0.34585299308934991</c:v>
                      </c:pt>
                      <c:pt idx="285">
                        <c:v>0.34966619837467006</c:v>
                      </c:pt>
                      <c:pt idx="286">
                        <c:v>0.35500466805572106</c:v>
                      </c:pt>
                      <c:pt idx="287">
                        <c:v>0.36091506291731323</c:v>
                      </c:pt>
                      <c:pt idx="288">
                        <c:v>0.36301223302926888</c:v>
                      </c:pt>
                      <c:pt idx="289">
                        <c:v>0.36205894227348812</c:v>
                      </c:pt>
                      <c:pt idx="290">
                        <c:v>0.36091494896787268</c:v>
                      </c:pt>
                      <c:pt idx="291">
                        <c:v>0.35919897130871914</c:v>
                      </c:pt>
                      <c:pt idx="292">
                        <c:v>0.36396541026130458</c:v>
                      </c:pt>
                      <c:pt idx="293">
                        <c:v>0.36815987669094019</c:v>
                      </c:pt>
                      <c:pt idx="294">
                        <c:v>0.37101974128118731</c:v>
                      </c:pt>
                      <c:pt idx="295">
                        <c:v>0.36358415281632306</c:v>
                      </c:pt>
                      <c:pt idx="296">
                        <c:v>0.37349836411620485</c:v>
                      </c:pt>
                      <c:pt idx="297">
                        <c:v>0.37578620034131327</c:v>
                      </c:pt>
                      <c:pt idx="298">
                        <c:v>0.38226862976008147</c:v>
                      </c:pt>
                      <c:pt idx="299">
                        <c:v>0.38531915839909892</c:v>
                      </c:pt>
                      <c:pt idx="300">
                        <c:v>0.38493778003479173</c:v>
                      </c:pt>
                      <c:pt idx="301">
                        <c:v>0.39180139317886598</c:v>
                      </c:pt>
                      <c:pt idx="302">
                        <c:v>0.3887508428852966</c:v>
                      </c:pt>
                      <c:pt idx="303">
                        <c:v>0.38379369675161756</c:v>
                      </c:pt>
                      <c:pt idx="304">
                        <c:v>0.39161060896519762</c:v>
                      </c:pt>
                      <c:pt idx="305">
                        <c:v>0.39561441184825141</c:v>
                      </c:pt>
                      <c:pt idx="306">
                        <c:v>0.39466106764351783</c:v>
                      </c:pt>
                      <c:pt idx="307">
                        <c:v>0.3950423679794115</c:v>
                      </c:pt>
                      <c:pt idx="308">
                        <c:v>0.39313576357509405</c:v>
                      </c:pt>
                      <c:pt idx="309">
                        <c:v>0.39408908637810858</c:v>
                      </c:pt>
                      <c:pt idx="310">
                        <c:v>0.38798799490048341</c:v>
                      </c:pt>
                      <c:pt idx="311">
                        <c:v>0.39599557524066342</c:v>
                      </c:pt>
                      <c:pt idx="312">
                        <c:v>0.39752084000617138</c:v>
                      </c:pt>
                      <c:pt idx="313">
                        <c:v>0.39103843958980278</c:v>
                      </c:pt>
                      <c:pt idx="314">
                        <c:v>0.39752081782213522</c:v>
                      </c:pt>
                      <c:pt idx="315">
                        <c:v>0.38970378512764703</c:v>
                      </c:pt>
                      <c:pt idx="316">
                        <c:v>0.3778829647313513</c:v>
                      </c:pt>
                      <c:pt idx="317">
                        <c:v>0.37521372985207369</c:v>
                      </c:pt>
                      <c:pt idx="318">
                        <c:v>0.36701539320156051</c:v>
                      </c:pt>
                      <c:pt idx="319">
                        <c:v>0.3769295356392155</c:v>
                      </c:pt>
                      <c:pt idx="320">
                        <c:v>0.37845476048584303</c:v>
                      </c:pt>
                      <c:pt idx="321">
                        <c:v>0.3885596609530606</c:v>
                      </c:pt>
                      <c:pt idx="322">
                        <c:v>0.3889409594359583</c:v>
                      </c:pt>
                      <c:pt idx="323">
                        <c:v>0.38608113000047961</c:v>
                      </c:pt>
                      <c:pt idx="324">
                        <c:v>0.38417457540616406</c:v>
                      </c:pt>
                      <c:pt idx="325">
                        <c:v>0.37616698706998197</c:v>
                      </c:pt>
                      <c:pt idx="326">
                        <c:v>0.37654832294209895</c:v>
                      </c:pt>
                      <c:pt idx="327">
                        <c:v>0.3778828865411914</c:v>
                      </c:pt>
                      <c:pt idx="328">
                        <c:v>0.37845484572739441</c:v>
                      </c:pt>
                      <c:pt idx="329">
                        <c:v>0.3803613866245199</c:v>
                      </c:pt>
                      <c:pt idx="330">
                        <c:v>0.39122883378527606</c:v>
                      </c:pt>
                      <c:pt idx="331">
                        <c:v>0.39675785541650566</c:v>
                      </c:pt>
                      <c:pt idx="332">
                        <c:v>0.39790180010009157</c:v>
                      </c:pt>
                      <c:pt idx="333">
                        <c:v>0.39904570314311338</c:v>
                      </c:pt>
                      <c:pt idx="334">
                        <c:v>0.3910381251566033</c:v>
                      </c:pt>
                      <c:pt idx="335">
                        <c:v>0.39180069225681424</c:v>
                      </c:pt>
                      <c:pt idx="336">
                        <c:v>0.39713908299203449</c:v>
                      </c:pt>
                      <c:pt idx="337">
                        <c:v>0.41105710310898447</c:v>
                      </c:pt>
                      <c:pt idx="338">
                        <c:v>0.42001802124227794</c:v>
                      </c:pt>
                      <c:pt idx="339">
                        <c:v>0.4196367464035744</c:v>
                      </c:pt>
                      <c:pt idx="340">
                        <c:v>0.40705337021080235</c:v>
                      </c:pt>
                      <c:pt idx="341">
                        <c:v>0.41105714057573728</c:v>
                      </c:pt>
                      <c:pt idx="342">
                        <c:v>0.40762530850414302</c:v>
                      </c:pt>
                      <c:pt idx="343">
                        <c:v>0.40038026104127211</c:v>
                      </c:pt>
                      <c:pt idx="344">
                        <c:v>0.38817818767471501</c:v>
                      </c:pt>
                      <c:pt idx="345">
                        <c:v>0.39294463629991472</c:v>
                      </c:pt>
                      <c:pt idx="346">
                        <c:v>0.39866434556548946</c:v>
                      </c:pt>
                      <c:pt idx="347">
                        <c:v>0.40171483250316786</c:v>
                      </c:pt>
                      <c:pt idx="348">
                        <c:v>0.39618576834635899</c:v>
                      </c:pt>
                      <c:pt idx="349">
                        <c:v>0.39732966334636521</c:v>
                      </c:pt>
                      <c:pt idx="350">
                        <c:v>0.39084731130513517</c:v>
                      </c:pt>
                      <c:pt idx="351">
                        <c:v>0.37940787033911261</c:v>
                      </c:pt>
                      <c:pt idx="352">
                        <c:v>0.3694936521526242</c:v>
                      </c:pt>
                      <c:pt idx="353">
                        <c:v>0.37082822371664714</c:v>
                      </c:pt>
                      <c:pt idx="354">
                        <c:v>0.38341160431343191</c:v>
                      </c:pt>
                      <c:pt idx="355">
                        <c:v>0.36548978366187224</c:v>
                      </c:pt>
                      <c:pt idx="356">
                        <c:v>0.32716758598135853</c:v>
                      </c:pt>
                      <c:pt idx="357">
                        <c:v>0.32716758598135853</c:v>
                      </c:pt>
                      <c:pt idx="358">
                        <c:v>0.37997969844707336</c:v>
                      </c:pt>
                      <c:pt idx="359">
                        <c:v>0.37750111691069255</c:v>
                      </c:pt>
                      <c:pt idx="360">
                        <c:v>0.39618554206046896</c:v>
                      </c:pt>
                      <c:pt idx="361">
                        <c:v>0.40438380394489393</c:v>
                      </c:pt>
                      <c:pt idx="362">
                        <c:v>0.40362122353935193</c:v>
                      </c:pt>
                      <c:pt idx="363">
                        <c:v>0.40705307743090557</c:v>
                      </c:pt>
                      <c:pt idx="364">
                        <c:v>0.41620469135182381</c:v>
                      </c:pt>
                      <c:pt idx="365">
                        <c:v>0.41086630776777322</c:v>
                      </c:pt>
                      <c:pt idx="366">
                        <c:v>0.41010373452842463</c:v>
                      </c:pt>
                      <c:pt idx="367">
                        <c:v>0.4106756726031493</c:v>
                      </c:pt>
                      <c:pt idx="368">
                        <c:v>0.40895972671499492</c:v>
                      </c:pt>
                      <c:pt idx="369">
                        <c:v>0.40915035896601948</c:v>
                      </c:pt>
                      <c:pt idx="370">
                        <c:v>0.41201022961954092</c:v>
                      </c:pt>
                      <c:pt idx="371">
                        <c:v>0.41658598996964602</c:v>
                      </c:pt>
                      <c:pt idx="372">
                        <c:v>0.42497487054364713</c:v>
                      </c:pt>
                      <c:pt idx="373">
                        <c:v>0.422877592529181</c:v>
                      </c:pt>
                      <c:pt idx="374">
                        <c:v>0.41849242607676529</c:v>
                      </c:pt>
                      <c:pt idx="375">
                        <c:v>0.41620453964274606</c:v>
                      </c:pt>
                      <c:pt idx="376">
                        <c:v>0.40724364703861049</c:v>
                      </c:pt>
                      <c:pt idx="377">
                        <c:v>0.41029412909229612</c:v>
                      </c:pt>
                      <c:pt idx="378">
                        <c:v>0.41696707679350919</c:v>
                      </c:pt>
                      <c:pt idx="379">
                        <c:v>0.41925491183569985</c:v>
                      </c:pt>
                      <c:pt idx="380">
                        <c:v>0.42154275075357894</c:v>
                      </c:pt>
                      <c:pt idx="381">
                        <c:v>0.43031295875435305</c:v>
                      </c:pt>
                      <c:pt idx="382">
                        <c:v>0.43812990513653727</c:v>
                      </c:pt>
                      <c:pt idx="383">
                        <c:v>0.43946448968850405</c:v>
                      </c:pt>
                      <c:pt idx="384">
                        <c:v>0.44270573187993567</c:v>
                      </c:pt>
                      <c:pt idx="385">
                        <c:v>0.44308703900487156</c:v>
                      </c:pt>
                      <c:pt idx="386">
                        <c:v>0.44899749059052363</c:v>
                      </c:pt>
                      <c:pt idx="387">
                        <c:v>0.45433588714535711</c:v>
                      </c:pt>
                      <c:pt idx="388">
                        <c:v>0.4535732334061382</c:v>
                      </c:pt>
                      <c:pt idx="389">
                        <c:v>0.45319196114701565</c:v>
                      </c:pt>
                      <c:pt idx="390">
                        <c:v>0.45586118414125054</c:v>
                      </c:pt>
                      <c:pt idx="391">
                        <c:v>0.46119953593125973</c:v>
                      </c:pt>
                      <c:pt idx="392">
                        <c:v>0.45948364931621577</c:v>
                      </c:pt>
                      <c:pt idx="393">
                        <c:v>0.45967425788081662</c:v>
                      </c:pt>
                      <c:pt idx="394">
                        <c:v>0.45681446407477644</c:v>
                      </c:pt>
                      <c:pt idx="395">
                        <c:v>0.46081822726639299</c:v>
                      </c:pt>
                      <c:pt idx="396">
                        <c:v>0.46863521168231803</c:v>
                      </c:pt>
                      <c:pt idx="397">
                        <c:v>0.46977913164869745</c:v>
                      </c:pt>
                      <c:pt idx="398">
                        <c:v>0.47016039235544715</c:v>
                      </c:pt>
                      <c:pt idx="399">
                        <c:v>0.4695883529467817</c:v>
                      </c:pt>
                      <c:pt idx="400">
                        <c:v>0.46996971112437147</c:v>
                      </c:pt>
                      <c:pt idx="401">
                        <c:v>0.46100877576535737</c:v>
                      </c:pt>
                      <c:pt idx="402">
                        <c:v>0.46234340728201895</c:v>
                      </c:pt>
                      <c:pt idx="403">
                        <c:v>0.46882582937215944</c:v>
                      </c:pt>
                      <c:pt idx="404">
                        <c:v>0.46749125422359183</c:v>
                      </c:pt>
                      <c:pt idx="405">
                        <c:v>0.46577531670002803</c:v>
                      </c:pt>
                      <c:pt idx="406">
                        <c:v>0.46329683721701986</c:v>
                      </c:pt>
                      <c:pt idx="407">
                        <c:v>0.4667287072893449</c:v>
                      </c:pt>
                      <c:pt idx="408">
                        <c:v>0.47149513556942302</c:v>
                      </c:pt>
                      <c:pt idx="409">
                        <c:v>0.46901654916306978</c:v>
                      </c:pt>
                      <c:pt idx="410">
                        <c:v>0.4743549553027282</c:v>
                      </c:pt>
                      <c:pt idx="411">
                        <c:v>0.47893076334200568</c:v>
                      </c:pt>
                      <c:pt idx="412">
                        <c:v>0.47797744457195535</c:v>
                      </c:pt>
                      <c:pt idx="413">
                        <c:v>0.47721480821055628</c:v>
                      </c:pt>
                      <c:pt idx="414">
                        <c:v>0.47683353906855719</c:v>
                      </c:pt>
                      <c:pt idx="415">
                        <c:v>0.47702419827845111</c:v>
                      </c:pt>
                      <c:pt idx="416">
                        <c:v>0.47854952116801353</c:v>
                      </c:pt>
                      <c:pt idx="417">
                        <c:v>0.47988405996581984</c:v>
                      </c:pt>
                      <c:pt idx="418">
                        <c:v>0.48102801034417331</c:v>
                      </c:pt>
                      <c:pt idx="419">
                        <c:v>0.48102801034417331</c:v>
                      </c:pt>
                      <c:pt idx="420">
                        <c:v>0.48465045675467389</c:v>
                      </c:pt>
                      <c:pt idx="421">
                        <c:v>0.47988398646326291</c:v>
                      </c:pt>
                      <c:pt idx="422">
                        <c:v>0.48331583742787121</c:v>
                      </c:pt>
                      <c:pt idx="423">
                        <c:v>0.48655703086423485</c:v>
                      </c:pt>
                      <c:pt idx="424">
                        <c:v>0.49132352732799811</c:v>
                      </c:pt>
                      <c:pt idx="425">
                        <c:v>0.48846361619964118</c:v>
                      </c:pt>
                      <c:pt idx="426">
                        <c:v>0.48827294401040611</c:v>
                      </c:pt>
                      <c:pt idx="427">
                        <c:v>0.49303943576818798</c:v>
                      </c:pt>
                      <c:pt idx="428">
                        <c:v>0.49342075804008312</c:v>
                      </c:pt>
                      <c:pt idx="429">
                        <c:v>0.49837786956224561</c:v>
                      </c:pt>
                      <c:pt idx="430">
                        <c:v>0.50524148906934929</c:v>
                      </c:pt>
                      <c:pt idx="431">
                        <c:v>0.50772001970525071</c:v>
                      </c:pt>
                      <c:pt idx="432">
                        <c:v>0.50886392688420101</c:v>
                      </c:pt>
                      <c:pt idx="433">
                        <c:v>0.50886392688420101</c:v>
                      </c:pt>
                      <c:pt idx="434">
                        <c:v>0.51229583788589905</c:v>
                      </c:pt>
                      <c:pt idx="435">
                        <c:v>0.51343973845767588</c:v>
                      </c:pt>
                      <c:pt idx="436">
                        <c:v>0.51191449388925814</c:v>
                      </c:pt>
                      <c:pt idx="437">
                        <c:v>0.50466955082599019</c:v>
                      </c:pt>
                      <c:pt idx="438">
                        <c:v>0.50486019245808</c:v>
                      </c:pt>
                      <c:pt idx="439">
                        <c:v>0.50219102193471721</c:v>
                      </c:pt>
                      <c:pt idx="440">
                        <c:v>0.50562292754342941</c:v>
                      </c:pt>
                      <c:pt idx="441">
                        <c:v>0.50981744245727256</c:v>
                      </c:pt>
                      <c:pt idx="442">
                        <c:v>0.50886414372410504</c:v>
                      </c:pt>
                      <c:pt idx="443">
                        <c:v>0.50581367308473801</c:v>
                      </c:pt>
                      <c:pt idx="444">
                        <c:v>0.51077081169653304</c:v>
                      </c:pt>
                      <c:pt idx="445">
                        <c:v>0.51954098733551235</c:v>
                      </c:pt>
                      <c:pt idx="446">
                        <c:v>0.52411678111067594</c:v>
                      </c:pt>
                      <c:pt idx="447">
                        <c:v>0.52564211718521148</c:v>
                      </c:pt>
                      <c:pt idx="448">
                        <c:v>0.52030374285296865</c:v>
                      </c:pt>
                      <c:pt idx="449">
                        <c:v>0.52049438894232236</c:v>
                      </c:pt>
                      <c:pt idx="450">
                        <c:v>0.51954103896045556</c:v>
                      </c:pt>
                      <c:pt idx="451">
                        <c:v>0.52240096714988304</c:v>
                      </c:pt>
                      <c:pt idx="452">
                        <c:v>0.52087567362089549</c:v>
                      </c:pt>
                      <c:pt idx="453">
                        <c:v>0.52507009664117454</c:v>
                      </c:pt>
                      <c:pt idx="454">
                        <c:v>0.52697673927599542</c:v>
                      </c:pt>
                      <c:pt idx="455">
                        <c:v>0.52907404182739093</c:v>
                      </c:pt>
                      <c:pt idx="456">
                        <c:v>0.53574707385333009</c:v>
                      </c:pt>
                      <c:pt idx="457">
                        <c:v>0.53479383564458938</c:v>
                      </c:pt>
                      <c:pt idx="458">
                        <c:v>0.53555647470152112</c:v>
                      </c:pt>
                      <c:pt idx="459">
                        <c:v>0.53460320124202654</c:v>
                      </c:pt>
                      <c:pt idx="460">
                        <c:v>0.53250601250720919</c:v>
                      </c:pt>
                      <c:pt idx="461">
                        <c:v>0.52049453688238012</c:v>
                      </c:pt>
                      <c:pt idx="462">
                        <c:v>0.51286819243373927</c:v>
                      </c:pt>
                      <c:pt idx="463">
                        <c:v>0.52335433573595513</c:v>
                      </c:pt>
                      <c:pt idx="464">
                        <c:v>0.51954122749817455</c:v>
                      </c:pt>
                      <c:pt idx="465">
                        <c:v>0.51496543299980924</c:v>
                      </c:pt>
                      <c:pt idx="466">
                        <c:v>0.52850210363329264</c:v>
                      </c:pt>
                      <c:pt idx="467">
                        <c:v>0.53422175850508835</c:v>
                      </c:pt>
                      <c:pt idx="468">
                        <c:v>0.54203877178684756</c:v>
                      </c:pt>
                      <c:pt idx="469">
                        <c:v>0.54547057907345908</c:v>
                      </c:pt>
                      <c:pt idx="470">
                        <c:v>0.54718651505740423</c:v>
                      </c:pt>
                      <c:pt idx="471">
                        <c:v>0.54432669550297219</c:v>
                      </c:pt>
                      <c:pt idx="472">
                        <c:v>0.54242006976470436</c:v>
                      </c:pt>
                      <c:pt idx="473">
                        <c:v>0.54737709938491408</c:v>
                      </c:pt>
                      <c:pt idx="474">
                        <c:v>0.5437545348575441</c:v>
                      </c:pt>
                      <c:pt idx="475">
                        <c:v>0.54165734432194013</c:v>
                      </c:pt>
                      <c:pt idx="476">
                        <c:v>0.54623313748562197</c:v>
                      </c:pt>
                      <c:pt idx="477">
                        <c:v>0.53898810749661941</c:v>
                      </c:pt>
                      <c:pt idx="478">
                        <c:v>0.53098044457569316</c:v>
                      </c:pt>
                      <c:pt idx="479">
                        <c:v>0.53784413610481474</c:v>
                      </c:pt>
                      <c:pt idx="480">
                        <c:v>0.53860675301190919</c:v>
                      </c:pt>
                      <c:pt idx="481">
                        <c:v>0.53917865314200375</c:v>
                      </c:pt>
                      <c:pt idx="482">
                        <c:v>0.53593745073421717</c:v>
                      </c:pt>
                      <c:pt idx="483">
                        <c:v>0.53269631552567787</c:v>
                      </c:pt>
                      <c:pt idx="484">
                        <c:v>0.53021779231384114</c:v>
                      </c:pt>
                      <c:pt idx="485">
                        <c:v>0.5323149557982072</c:v>
                      </c:pt>
                      <c:pt idx="486">
                        <c:v>0.52735791691619993</c:v>
                      </c:pt>
                      <c:pt idx="487">
                        <c:v>0.51954089909742285</c:v>
                      </c:pt>
                      <c:pt idx="488">
                        <c:v>0.51553706078239103</c:v>
                      </c:pt>
                      <c:pt idx="489">
                        <c:v>0.49990308357077207</c:v>
                      </c:pt>
                      <c:pt idx="490">
                        <c:v>0.50657615238957843</c:v>
                      </c:pt>
                      <c:pt idx="491">
                        <c:v>0.49933117833035223</c:v>
                      </c:pt>
                      <c:pt idx="492">
                        <c:v>0.50886407589529425</c:v>
                      </c:pt>
                      <c:pt idx="493">
                        <c:v>0.51458387783419801</c:v>
                      </c:pt>
                      <c:pt idx="494">
                        <c:v>0.52011301773861973</c:v>
                      </c:pt>
                      <c:pt idx="495">
                        <c:v>0.51763447346319702</c:v>
                      </c:pt>
                      <c:pt idx="496">
                        <c:v>0.52468874202274884</c:v>
                      </c:pt>
                      <c:pt idx="497">
                        <c:v>0.53288699338860512</c:v>
                      </c:pt>
                      <c:pt idx="498">
                        <c:v>0.54070395061139043</c:v>
                      </c:pt>
                      <c:pt idx="499">
                        <c:v>0.54032262638361428</c:v>
                      </c:pt>
                      <c:pt idx="500">
                        <c:v>0.54222923773055176</c:v>
                      </c:pt>
                      <c:pt idx="501">
                        <c:v>0.54642363858840759</c:v>
                      </c:pt>
                      <c:pt idx="502">
                        <c:v>0.53994133998017269</c:v>
                      </c:pt>
                      <c:pt idx="503">
                        <c:v>0.5454703453672376</c:v>
                      </c:pt>
                      <c:pt idx="504">
                        <c:v>0.54833023824133953</c:v>
                      </c:pt>
                      <c:pt idx="505">
                        <c:v>0.54833023824133953</c:v>
                      </c:pt>
                      <c:pt idx="506">
                        <c:v>0.54833023824133953</c:v>
                      </c:pt>
                      <c:pt idx="507">
                        <c:v>0.54833023824133953</c:v>
                      </c:pt>
                      <c:pt idx="508">
                        <c:v>0.54833023824133953</c:v>
                      </c:pt>
                    </c:numCache>
                  </c:numRef>
                </c:val>
                <c:smooth val="0"/>
                <c:extLst xmlns:c15="http://schemas.microsoft.com/office/drawing/2012/chart">
                  <c:ext xmlns:c16="http://schemas.microsoft.com/office/drawing/2014/chart" uri="{C3380CC4-5D6E-409C-BE32-E72D297353CC}">
                    <c16:uniqueId val="{00000009-FEDF-4824-BFB3-214DAB16BA7B}"/>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Chart!$D$4</c15:sqref>
                        </c15:formulaRef>
                      </c:ext>
                    </c:extLst>
                    <c:strCache>
                      <c:ptCount val="1"/>
                      <c:pt idx="0">
                        <c:v>10/7/1966</c:v>
                      </c:pt>
                    </c:strCache>
                  </c:strRef>
                </c:tx>
                <c:spPr>
                  <a:ln w="28575" cap="rnd">
                    <a:solidFill>
                      <a:schemeClr val="accent3"/>
                    </a:solidFill>
                    <a:round/>
                  </a:ln>
                  <a:effectLst/>
                </c:spPr>
                <c:marker>
                  <c:symbol val="none"/>
                </c:marker>
                <c:cat>
                  <c:numRef>
                    <c:extLst xmlns:c15="http://schemas.microsoft.com/office/drawing/2012/chart">
                      <c:ext xmlns:c15="http://schemas.microsoft.com/office/drawing/2012/chart" uri="{02D57815-91ED-43cb-92C2-25804820EDAC}">
                        <c15:formulaRef>
                          <c15:sqref>Chart!$A$5:$A$513</c15:sqref>
                        </c15:formulaRef>
                      </c:ext>
                    </c:extLst>
                    <c:numCache>
                      <c:formatCode>General</c:formatCode>
                      <c:ptCount val="50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pt idx="100">
                        <c:v>101</c:v>
                      </c:pt>
                      <c:pt idx="101">
                        <c:v>102</c:v>
                      </c:pt>
                      <c:pt idx="102">
                        <c:v>103</c:v>
                      </c:pt>
                      <c:pt idx="103">
                        <c:v>104</c:v>
                      </c:pt>
                      <c:pt idx="104">
                        <c:v>105</c:v>
                      </c:pt>
                      <c:pt idx="105">
                        <c:v>106</c:v>
                      </c:pt>
                      <c:pt idx="106">
                        <c:v>107</c:v>
                      </c:pt>
                      <c:pt idx="107">
                        <c:v>108</c:v>
                      </c:pt>
                      <c:pt idx="108">
                        <c:v>109</c:v>
                      </c:pt>
                      <c:pt idx="109">
                        <c:v>110</c:v>
                      </c:pt>
                      <c:pt idx="110">
                        <c:v>111</c:v>
                      </c:pt>
                      <c:pt idx="111">
                        <c:v>112</c:v>
                      </c:pt>
                      <c:pt idx="112">
                        <c:v>113</c:v>
                      </c:pt>
                      <c:pt idx="113">
                        <c:v>114</c:v>
                      </c:pt>
                      <c:pt idx="114">
                        <c:v>115</c:v>
                      </c:pt>
                      <c:pt idx="115">
                        <c:v>116</c:v>
                      </c:pt>
                      <c:pt idx="116">
                        <c:v>117</c:v>
                      </c:pt>
                      <c:pt idx="117">
                        <c:v>118</c:v>
                      </c:pt>
                      <c:pt idx="118">
                        <c:v>119</c:v>
                      </c:pt>
                      <c:pt idx="119">
                        <c:v>120</c:v>
                      </c:pt>
                      <c:pt idx="120">
                        <c:v>121</c:v>
                      </c:pt>
                      <c:pt idx="121">
                        <c:v>122</c:v>
                      </c:pt>
                      <c:pt idx="122">
                        <c:v>123</c:v>
                      </c:pt>
                      <c:pt idx="123">
                        <c:v>124</c:v>
                      </c:pt>
                      <c:pt idx="124">
                        <c:v>125</c:v>
                      </c:pt>
                      <c:pt idx="125">
                        <c:v>126</c:v>
                      </c:pt>
                      <c:pt idx="126">
                        <c:v>127</c:v>
                      </c:pt>
                      <c:pt idx="127">
                        <c:v>128</c:v>
                      </c:pt>
                      <c:pt idx="128">
                        <c:v>129</c:v>
                      </c:pt>
                      <c:pt idx="129">
                        <c:v>130</c:v>
                      </c:pt>
                      <c:pt idx="130">
                        <c:v>131</c:v>
                      </c:pt>
                      <c:pt idx="131">
                        <c:v>132</c:v>
                      </c:pt>
                      <c:pt idx="132">
                        <c:v>133</c:v>
                      </c:pt>
                      <c:pt idx="133">
                        <c:v>134</c:v>
                      </c:pt>
                      <c:pt idx="134">
                        <c:v>135</c:v>
                      </c:pt>
                      <c:pt idx="135">
                        <c:v>136</c:v>
                      </c:pt>
                      <c:pt idx="136">
                        <c:v>137</c:v>
                      </c:pt>
                      <c:pt idx="137">
                        <c:v>138</c:v>
                      </c:pt>
                      <c:pt idx="138">
                        <c:v>139</c:v>
                      </c:pt>
                      <c:pt idx="139">
                        <c:v>140</c:v>
                      </c:pt>
                      <c:pt idx="140">
                        <c:v>141</c:v>
                      </c:pt>
                      <c:pt idx="141">
                        <c:v>142</c:v>
                      </c:pt>
                      <c:pt idx="142">
                        <c:v>143</c:v>
                      </c:pt>
                      <c:pt idx="143">
                        <c:v>144</c:v>
                      </c:pt>
                      <c:pt idx="144">
                        <c:v>145</c:v>
                      </c:pt>
                      <c:pt idx="145">
                        <c:v>146</c:v>
                      </c:pt>
                      <c:pt idx="146">
                        <c:v>147</c:v>
                      </c:pt>
                      <c:pt idx="147">
                        <c:v>148</c:v>
                      </c:pt>
                      <c:pt idx="148">
                        <c:v>149</c:v>
                      </c:pt>
                      <c:pt idx="149">
                        <c:v>150</c:v>
                      </c:pt>
                      <c:pt idx="150">
                        <c:v>151</c:v>
                      </c:pt>
                      <c:pt idx="151">
                        <c:v>152</c:v>
                      </c:pt>
                      <c:pt idx="152">
                        <c:v>153</c:v>
                      </c:pt>
                      <c:pt idx="153">
                        <c:v>154</c:v>
                      </c:pt>
                      <c:pt idx="154">
                        <c:v>155</c:v>
                      </c:pt>
                      <c:pt idx="155">
                        <c:v>156</c:v>
                      </c:pt>
                      <c:pt idx="156">
                        <c:v>157</c:v>
                      </c:pt>
                      <c:pt idx="157">
                        <c:v>158</c:v>
                      </c:pt>
                      <c:pt idx="158">
                        <c:v>159</c:v>
                      </c:pt>
                      <c:pt idx="159">
                        <c:v>160</c:v>
                      </c:pt>
                      <c:pt idx="160">
                        <c:v>161</c:v>
                      </c:pt>
                      <c:pt idx="161">
                        <c:v>162</c:v>
                      </c:pt>
                      <c:pt idx="162">
                        <c:v>163</c:v>
                      </c:pt>
                      <c:pt idx="163">
                        <c:v>164</c:v>
                      </c:pt>
                      <c:pt idx="164">
                        <c:v>165</c:v>
                      </c:pt>
                      <c:pt idx="165">
                        <c:v>166</c:v>
                      </c:pt>
                      <c:pt idx="166">
                        <c:v>167</c:v>
                      </c:pt>
                      <c:pt idx="167">
                        <c:v>168</c:v>
                      </c:pt>
                      <c:pt idx="168">
                        <c:v>169</c:v>
                      </c:pt>
                      <c:pt idx="169">
                        <c:v>170</c:v>
                      </c:pt>
                      <c:pt idx="170">
                        <c:v>171</c:v>
                      </c:pt>
                      <c:pt idx="171">
                        <c:v>172</c:v>
                      </c:pt>
                      <c:pt idx="172">
                        <c:v>173</c:v>
                      </c:pt>
                      <c:pt idx="173">
                        <c:v>174</c:v>
                      </c:pt>
                      <c:pt idx="174">
                        <c:v>175</c:v>
                      </c:pt>
                      <c:pt idx="175">
                        <c:v>176</c:v>
                      </c:pt>
                      <c:pt idx="176">
                        <c:v>177</c:v>
                      </c:pt>
                      <c:pt idx="177">
                        <c:v>178</c:v>
                      </c:pt>
                      <c:pt idx="178">
                        <c:v>179</c:v>
                      </c:pt>
                      <c:pt idx="179">
                        <c:v>180</c:v>
                      </c:pt>
                      <c:pt idx="180">
                        <c:v>181</c:v>
                      </c:pt>
                      <c:pt idx="181">
                        <c:v>182</c:v>
                      </c:pt>
                      <c:pt idx="182">
                        <c:v>183</c:v>
                      </c:pt>
                      <c:pt idx="183">
                        <c:v>184</c:v>
                      </c:pt>
                      <c:pt idx="184">
                        <c:v>185</c:v>
                      </c:pt>
                      <c:pt idx="185">
                        <c:v>186</c:v>
                      </c:pt>
                      <c:pt idx="186">
                        <c:v>187</c:v>
                      </c:pt>
                      <c:pt idx="187">
                        <c:v>188</c:v>
                      </c:pt>
                      <c:pt idx="188">
                        <c:v>189</c:v>
                      </c:pt>
                      <c:pt idx="189">
                        <c:v>190</c:v>
                      </c:pt>
                      <c:pt idx="190">
                        <c:v>191</c:v>
                      </c:pt>
                      <c:pt idx="191">
                        <c:v>192</c:v>
                      </c:pt>
                      <c:pt idx="192">
                        <c:v>193</c:v>
                      </c:pt>
                      <c:pt idx="193">
                        <c:v>194</c:v>
                      </c:pt>
                      <c:pt idx="194">
                        <c:v>195</c:v>
                      </c:pt>
                      <c:pt idx="195">
                        <c:v>196</c:v>
                      </c:pt>
                      <c:pt idx="196">
                        <c:v>197</c:v>
                      </c:pt>
                      <c:pt idx="197">
                        <c:v>198</c:v>
                      </c:pt>
                      <c:pt idx="198">
                        <c:v>199</c:v>
                      </c:pt>
                      <c:pt idx="199">
                        <c:v>200</c:v>
                      </c:pt>
                      <c:pt idx="200">
                        <c:v>201</c:v>
                      </c:pt>
                      <c:pt idx="201">
                        <c:v>202</c:v>
                      </c:pt>
                      <c:pt idx="202">
                        <c:v>203</c:v>
                      </c:pt>
                      <c:pt idx="203">
                        <c:v>204</c:v>
                      </c:pt>
                      <c:pt idx="204">
                        <c:v>205</c:v>
                      </c:pt>
                      <c:pt idx="205">
                        <c:v>206</c:v>
                      </c:pt>
                      <c:pt idx="206">
                        <c:v>207</c:v>
                      </c:pt>
                      <c:pt idx="207">
                        <c:v>208</c:v>
                      </c:pt>
                      <c:pt idx="208">
                        <c:v>209</c:v>
                      </c:pt>
                      <c:pt idx="209">
                        <c:v>210</c:v>
                      </c:pt>
                      <c:pt idx="210">
                        <c:v>211</c:v>
                      </c:pt>
                      <c:pt idx="211">
                        <c:v>212</c:v>
                      </c:pt>
                      <c:pt idx="212">
                        <c:v>213</c:v>
                      </c:pt>
                      <c:pt idx="213">
                        <c:v>214</c:v>
                      </c:pt>
                      <c:pt idx="214">
                        <c:v>215</c:v>
                      </c:pt>
                      <c:pt idx="215">
                        <c:v>216</c:v>
                      </c:pt>
                      <c:pt idx="216">
                        <c:v>217</c:v>
                      </c:pt>
                      <c:pt idx="217">
                        <c:v>218</c:v>
                      </c:pt>
                      <c:pt idx="218">
                        <c:v>219</c:v>
                      </c:pt>
                      <c:pt idx="219">
                        <c:v>220</c:v>
                      </c:pt>
                      <c:pt idx="220">
                        <c:v>221</c:v>
                      </c:pt>
                      <c:pt idx="221">
                        <c:v>222</c:v>
                      </c:pt>
                      <c:pt idx="222">
                        <c:v>223</c:v>
                      </c:pt>
                      <c:pt idx="223">
                        <c:v>224</c:v>
                      </c:pt>
                      <c:pt idx="224">
                        <c:v>225</c:v>
                      </c:pt>
                      <c:pt idx="225">
                        <c:v>226</c:v>
                      </c:pt>
                      <c:pt idx="226">
                        <c:v>227</c:v>
                      </c:pt>
                      <c:pt idx="227">
                        <c:v>228</c:v>
                      </c:pt>
                      <c:pt idx="228">
                        <c:v>229</c:v>
                      </c:pt>
                      <c:pt idx="229">
                        <c:v>230</c:v>
                      </c:pt>
                      <c:pt idx="230">
                        <c:v>231</c:v>
                      </c:pt>
                      <c:pt idx="231">
                        <c:v>232</c:v>
                      </c:pt>
                      <c:pt idx="232">
                        <c:v>233</c:v>
                      </c:pt>
                      <c:pt idx="233">
                        <c:v>234</c:v>
                      </c:pt>
                      <c:pt idx="234">
                        <c:v>235</c:v>
                      </c:pt>
                      <c:pt idx="235">
                        <c:v>236</c:v>
                      </c:pt>
                      <c:pt idx="236">
                        <c:v>237</c:v>
                      </c:pt>
                      <c:pt idx="237">
                        <c:v>238</c:v>
                      </c:pt>
                      <c:pt idx="238">
                        <c:v>239</c:v>
                      </c:pt>
                      <c:pt idx="239">
                        <c:v>240</c:v>
                      </c:pt>
                      <c:pt idx="240">
                        <c:v>241</c:v>
                      </c:pt>
                      <c:pt idx="241">
                        <c:v>242</c:v>
                      </c:pt>
                      <c:pt idx="242">
                        <c:v>243</c:v>
                      </c:pt>
                      <c:pt idx="243">
                        <c:v>244</c:v>
                      </c:pt>
                      <c:pt idx="244">
                        <c:v>245</c:v>
                      </c:pt>
                      <c:pt idx="245">
                        <c:v>246</c:v>
                      </c:pt>
                      <c:pt idx="246">
                        <c:v>247</c:v>
                      </c:pt>
                      <c:pt idx="247">
                        <c:v>248</c:v>
                      </c:pt>
                      <c:pt idx="248">
                        <c:v>249</c:v>
                      </c:pt>
                      <c:pt idx="249">
                        <c:v>250</c:v>
                      </c:pt>
                      <c:pt idx="250">
                        <c:v>251</c:v>
                      </c:pt>
                      <c:pt idx="251">
                        <c:v>252</c:v>
                      </c:pt>
                      <c:pt idx="252">
                        <c:v>253</c:v>
                      </c:pt>
                      <c:pt idx="253">
                        <c:v>254</c:v>
                      </c:pt>
                      <c:pt idx="254">
                        <c:v>255</c:v>
                      </c:pt>
                      <c:pt idx="255">
                        <c:v>256</c:v>
                      </c:pt>
                      <c:pt idx="256">
                        <c:v>257</c:v>
                      </c:pt>
                      <c:pt idx="257">
                        <c:v>258</c:v>
                      </c:pt>
                      <c:pt idx="258">
                        <c:v>259</c:v>
                      </c:pt>
                      <c:pt idx="259">
                        <c:v>260</c:v>
                      </c:pt>
                      <c:pt idx="260">
                        <c:v>261</c:v>
                      </c:pt>
                      <c:pt idx="261">
                        <c:v>262</c:v>
                      </c:pt>
                      <c:pt idx="262">
                        <c:v>263</c:v>
                      </c:pt>
                      <c:pt idx="263">
                        <c:v>264</c:v>
                      </c:pt>
                      <c:pt idx="264">
                        <c:v>265</c:v>
                      </c:pt>
                      <c:pt idx="265">
                        <c:v>266</c:v>
                      </c:pt>
                      <c:pt idx="266">
                        <c:v>267</c:v>
                      </c:pt>
                      <c:pt idx="267">
                        <c:v>268</c:v>
                      </c:pt>
                      <c:pt idx="268">
                        <c:v>269</c:v>
                      </c:pt>
                      <c:pt idx="269">
                        <c:v>270</c:v>
                      </c:pt>
                      <c:pt idx="270">
                        <c:v>271</c:v>
                      </c:pt>
                      <c:pt idx="271">
                        <c:v>272</c:v>
                      </c:pt>
                      <c:pt idx="272">
                        <c:v>273</c:v>
                      </c:pt>
                      <c:pt idx="273">
                        <c:v>274</c:v>
                      </c:pt>
                      <c:pt idx="274">
                        <c:v>275</c:v>
                      </c:pt>
                      <c:pt idx="275">
                        <c:v>276</c:v>
                      </c:pt>
                      <c:pt idx="276">
                        <c:v>277</c:v>
                      </c:pt>
                      <c:pt idx="277">
                        <c:v>278</c:v>
                      </c:pt>
                      <c:pt idx="278">
                        <c:v>279</c:v>
                      </c:pt>
                      <c:pt idx="279">
                        <c:v>280</c:v>
                      </c:pt>
                      <c:pt idx="280">
                        <c:v>281</c:v>
                      </c:pt>
                      <c:pt idx="281">
                        <c:v>282</c:v>
                      </c:pt>
                      <c:pt idx="282">
                        <c:v>283</c:v>
                      </c:pt>
                      <c:pt idx="283">
                        <c:v>284</c:v>
                      </c:pt>
                      <c:pt idx="284">
                        <c:v>285</c:v>
                      </c:pt>
                      <c:pt idx="285">
                        <c:v>286</c:v>
                      </c:pt>
                      <c:pt idx="286">
                        <c:v>287</c:v>
                      </c:pt>
                      <c:pt idx="287">
                        <c:v>288</c:v>
                      </c:pt>
                      <c:pt idx="288">
                        <c:v>289</c:v>
                      </c:pt>
                      <c:pt idx="289">
                        <c:v>290</c:v>
                      </c:pt>
                      <c:pt idx="290">
                        <c:v>291</c:v>
                      </c:pt>
                      <c:pt idx="291">
                        <c:v>292</c:v>
                      </c:pt>
                      <c:pt idx="292">
                        <c:v>293</c:v>
                      </c:pt>
                      <c:pt idx="293">
                        <c:v>294</c:v>
                      </c:pt>
                      <c:pt idx="294">
                        <c:v>295</c:v>
                      </c:pt>
                      <c:pt idx="295">
                        <c:v>296</c:v>
                      </c:pt>
                      <c:pt idx="296">
                        <c:v>297</c:v>
                      </c:pt>
                      <c:pt idx="297">
                        <c:v>298</c:v>
                      </c:pt>
                      <c:pt idx="298">
                        <c:v>299</c:v>
                      </c:pt>
                      <c:pt idx="299">
                        <c:v>300</c:v>
                      </c:pt>
                      <c:pt idx="300">
                        <c:v>301</c:v>
                      </c:pt>
                      <c:pt idx="301">
                        <c:v>302</c:v>
                      </c:pt>
                      <c:pt idx="302">
                        <c:v>303</c:v>
                      </c:pt>
                      <c:pt idx="303">
                        <c:v>304</c:v>
                      </c:pt>
                      <c:pt idx="304">
                        <c:v>305</c:v>
                      </c:pt>
                      <c:pt idx="305">
                        <c:v>306</c:v>
                      </c:pt>
                      <c:pt idx="306">
                        <c:v>307</c:v>
                      </c:pt>
                      <c:pt idx="307">
                        <c:v>308</c:v>
                      </c:pt>
                      <c:pt idx="308">
                        <c:v>309</c:v>
                      </c:pt>
                      <c:pt idx="309">
                        <c:v>310</c:v>
                      </c:pt>
                      <c:pt idx="310">
                        <c:v>311</c:v>
                      </c:pt>
                      <c:pt idx="311">
                        <c:v>312</c:v>
                      </c:pt>
                      <c:pt idx="312">
                        <c:v>313</c:v>
                      </c:pt>
                      <c:pt idx="313">
                        <c:v>314</c:v>
                      </c:pt>
                      <c:pt idx="314">
                        <c:v>315</c:v>
                      </c:pt>
                      <c:pt idx="315">
                        <c:v>316</c:v>
                      </c:pt>
                      <c:pt idx="316">
                        <c:v>317</c:v>
                      </c:pt>
                      <c:pt idx="317">
                        <c:v>318</c:v>
                      </c:pt>
                      <c:pt idx="318">
                        <c:v>319</c:v>
                      </c:pt>
                      <c:pt idx="319">
                        <c:v>320</c:v>
                      </c:pt>
                      <c:pt idx="320">
                        <c:v>321</c:v>
                      </c:pt>
                      <c:pt idx="321">
                        <c:v>322</c:v>
                      </c:pt>
                      <c:pt idx="322">
                        <c:v>323</c:v>
                      </c:pt>
                      <c:pt idx="323">
                        <c:v>324</c:v>
                      </c:pt>
                      <c:pt idx="324">
                        <c:v>325</c:v>
                      </c:pt>
                      <c:pt idx="325">
                        <c:v>326</c:v>
                      </c:pt>
                      <c:pt idx="326">
                        <c:v>327</c:v>
                      </c:pt>
                      <c:pt idx="327">
                        <c:v>328</c:v>
                      </c:pt>
                      <c:pt idx="328">
                        <c:v>329</c:v>
                      </c:pt>
                      <c:pt idx="329">
                        <c:v>330</c:v>
                      </c:pt>
                      <c:pt idx="330">
                        <c:v>331</c:v>
                      </c:pt>
                      <c:pt idx="331">
                        <c:v>332</c:v>
                      </c:pt>
                      <c:pt idx="332">
                        <c:v>333</c:v>
                      </c:pt>
                      <c:pt idx="333">
                        <c:v>334</c:v>
                      </c:pt>
                      <c:pt idx="334">
                        <c:v>335</c:v>
                      </c:pt>
                      <c:pt idx="335">
                        <c:v>336</c:v>
                      </c:pt>
                      <c:pt idx="336">
                        <c:v>337</c:v>
                      </c:pt>
                      <c:pt idx="337">
                        <c:v>338</c:v>
                      </c:pt>
                      <c:pt idx="338">
                        <c:v>339</c:v>
                      </c:pt>
                      <c:pt idx="339">
                        <c:v>340</c:v>
                      </c:pt>
                      <c:pt idx="340">
                        <c:v>341</c:v>
                      </c:pt>
                      <c:pt idx="341">
                        <c:v>342</c:v>
                      </c:pt>
                      <c:pt idx="342">
                        <c:v>343</c:v>
                      </c:pt>
                      <c:pt idx="343">
                        <c:v>344</c:v>
                      </c:pt>
                      <c:pt idx="344">
                        <c:v>345</c:v>
                      </c:pt>
                      <c:pt idx="345">
                        <c:v>346</c:v>
                      </c:pt>
                      <c:pt idx="346">
                        <c:v>347</c:v>
                      </c:pt>
                      <c:pt idx="347">
                        <c:v>348</c:v>
                      </c:pt>
                      <c:pt idx="348">
                        <c:v>349</c:v>
                      </c:pt>
                      <c:pt idx="349">
                        <c:v>350</c:v>
                      </c:pt>
                      <c:pt idx="350">
                        <c:v>351</c:v>
                      </c:pt>
                      <c:pt idx="351">
                        <c:v>352</c:v>
                      </c:pt>
                      <c:pt idx="352">
                        <c:v>353</c:v>
                      </c:pt>
                      <c:pt idx="353">
                        <c:v>354</c:v>
                      </c:pt>
                      <c:pt idx="354">
                        <c:v>355</c:v>
                      </c:pt>
                      <c:pt idx="355">
                        <c:v>356</c:v>
                      </c:pt>
                      <c:pt idx="356">
                        <c:v>357</c:v>
                      </c:pt>
                      <c:pt idx="357">
                        <c:v>358</c:v>
                      </c:pt>
                      <c:pt idx="358">
                        <c:v>359</c:v>
                      </c:pt>
                      <c:pt idx="359">
                        <c:v>360</c:v>
                      </c:pt>
                      <c:pt idx="360">
                        <c:v>361</c:v>
                      </c:pt>
                      <c:pt idx="361">
                        <c:v>362</c:v>
                      </c:pt>
                      <c:pt idx="362">
                        <c:v>363</c:v>
                      </c:pt>
                      <c:pt idx="363">
                        <c:v>364</c:v>
                      </c:pt>
                      <c:pt idx="364">
                        <c:v>365</c:v>
                      </c:pt>
                      <c:pt idx="365">
                        <c:v>366</c:v>
                      </c:pt>
                      <c:pt idx="366">
                        <c:v>367</c:v>
                      </c:pt>
                      <c:pt idx="367">
                        <c:v>368</c:v>
                      </c:pt>
                      <c:pt idx="368">
                        <c:v>369</c:v>
                      </c:pt>
                      <c:pt idx="369">
                        <c:v>370</c:v>
                      </c:pt>
                      <c:pt idx="370">
                        <c:v>371</c:v>
                      </c:pt>
                      <c:pt idx="371">
                        <c:v>372</c:v>
                      </c:pt>
                      <c:pt idx="372">
                        <c:v>373</c:v>
                      </c:pt>
                      <c:pt idx="373">
                        <c:v>374</c:v>
                      </c:pt>
                      <c:pt idx="374">
                        <c:v>375</c:v>
                      </c:pt>
                      <c:pt idx="375">
                        <c:v>376</c:v>
                      </c:pt>
                      <c:pt idx="376">
                        <c:v>377</c:v>
                      </c:pt>
                      <c:pt idx="377">
                        <c:v>378</c:v>
                      </c:pt>
                      <c:pt idx="378">
                        <c:v>379</c:v>
                      </c:pt>
                      <c:pt idx="379">
                        <c:v>380</c:v>
                      </c:pt>
                      <c:pt idx="380">
                        <c:v>381</c:v>
                      </c:pt>
                      <c:pt idx="381">
                        <c:v>382</c:v>
                      </c:pt>
                      <c:pt idx="382">
                        <c:v>383</c:v>
                      </c:pt>
                      <c:pt idx="383">
                        <c:v>384</c:v>
                      </c:pt>
                      <c:pt idx="384">
                        <c:v>385</c:v>
                      </c:pt>
                      <c:pt idx="385">
                        <c:v>386</c:v>
                      </c:pt>
                      <c:pt idx="386">
                        <c:v>387</c:v>
                      </c:pt>
                      <c:pt idx="387">
                        <c:v>388</c:v>
                      </c:pt>
                      <c:pt idx="388">
                        <c:v>389</c:v>
                      </c:pt>
                      <c:pt idx="389">
                        <c:v>390</c:v>
                      </c:pt>
                      <c:pt idx="390">
                        <c:v>391</c:v>
                      </c:pt>
                      <c:pt idx="391">
                        <c:v>392</c:v>
                      </c:pt>
                      <c:pt idx="392">
                        <c:v>393</c:v>
                      </c:pt>
                      <c:pt idx="393">
                        <c:v>394</c:v>
                      </c:pt>
                      <c:pt idx="394">
                        <c:v>395</c:v>
                      </c:pt>
                      <c:pt idx="395">
                        <c:v>396</c:v>
                      </c:pt>
                      <c:pt idx="396">
                        <c:v>397</c:v>
                      </c:pt>
                      <c:pt idx="397">
                        <c:v>398</c:v>
                      </c:pt>
                      <c:pt idx="398">
                        <c:v>399</c:v>
                      </c:pt>
                      <c:pt idx="399">
                        <c:v>400</c:v>
                      </c:pt>
                      <c:pt idx="400">
                        <c:v>401</c:v>
                      </c:pt>
                      <c:pt idx="401">
                        <c:v>402</c:v>
                      </c:pt>
                      <c:pt idx="402">
                        <c:v>403</c:v>
                      </c:pt>
                      <c:pt idx="403">
                        <c:v>404</c:v>
                      </c:pt>
                      <c:pt idx="404">
                        <c:v>405</c:v>
                      </c:pt>
                      <c:pt idx="405">
                        <c:v>406</c:v>
                      </c:pt>
                      <c:pt idx="406">
                        <c:v>407</c:v>
                      </c:pt>
                      <c:pt idx="407">
                        <c:v>408</c:v>
                      </c:pt>
                      <c:pt idx="408">
                        <c:v>409</c:v>
                      </c:pt>
                      <c:pt idx="409">
                        <c:v>410</c:v>
                      </c:pt>
                      <c:pt idx="410">
                        <c:v>411</c:v>
                      </c:pt>
                      <c:pt idx="411">
                        <c:v>412</c:v>
                      </c:pt>
                      <c:pt idx="412">
                        <c:v>413</c:v>
                      </c:pt>
                      <c:pt idx="413">
                        <c:v>414</c:v>
                      </c:pt>
                      <c:pt idx="414">
                        <c:v>415</c:v>
                      </c:pt>
                      <c:pt idx="415">
                        <c:v>416</c:v>
                      </c:pt>
                      <c:pt idx="416">
                        <c:v>417</c:v>
                      </c:pt>
                      <c:pt idx="417">
                        <c:v>418</c:v>
                      </c:pt>
                      <c:pt idx="418">
                        <c:v>419</c:v>
                      </c:pt>
                      <c:pt idx="419">
                        <c:v>420</c:v>
                      </c:pt>
                      <c:pt idx="420">
                        <c:v>421</c:v>
                      </c:pt>
                      <c:pt idx="421">
                        <c:v>422</c:v>
                      </c:pt>
                      <c:pt idx="422">
                        <c:v>423</c:v>
                      </c:pt>
                      <c:pt idx="423">
                        <c:v>424</c:v>
                      </c:pt>
                      <c:pt idx="424">
                        <c:v>425</c:v>
                      </c:pt>
                      <c:pt idx="425">
                        <c:v>426</c:v>
                      </c:pt>
                      <c:pt idx="426">
                        <c:v>427</c:v>
                      </c:pt>
                      <c:pt idx="427">
                        <c:v>428</c:v>
                      </c:pt>
                      <c:pt idx="428">
                        <c:v>429</c:v>
                      </c:pt>
                      <c:pt idx="429">
                        <c:v>430</c:v>
                      </c:pt>
                      <c:pt idx="430">
                        <c:v>431</c:v>
                      </c:pt>
                      <c:pt idx="431">
                        <c:v>432</c:v>
                      </c:pt>
                      <c:pt idx="432">
                        <c:v>433</c:v>
                      </c:pt>
                      <c:pt idx="433">
                        <c:v>434</c:v>
                      </c:pt>
                      <c:pt idx="434">
                        <c:v>435</c:v>
                      </c:pt>
                      <c:pt idx="435">
                        <c:v>436</c:v>
                      </c:pt>
                      <c:pt idx="436">
                        <c:v>437</c:v>
                      </c:pt>
                      <c:pt idx="437">
                        <c:v>438</c:v>
                      </c:pt>
                      <c:pt idx="438">
                        <c:v>439</c:v>
                      </c:pt>
                      <c:pt idx="439">
                        <c:v>440</c:v>
                      </c:pt>
                      <c:pt idx="440">
                        <c:v>441</c:v>
                      </c:pt>
                      <c:pt idx="441">
                        <c:v>442</c:v>
                      </c:pt>
                      <c:pt idx="442">
                        <c:v>443</c:v>
                      </c:pt>
                      <c:pt idx="443">
                        <c:v>444</c:v>
                      </c:pt>
                      <c:pt idx="444">
                        <c:v>445</c:v>
                      </c:pt>
                      <c:pt idx="445">
                        <c:v>446</c:v>
                      </c:pt>
                      <c:pt idx="446">
                        <c:v>447</c:v>
                      </c:pt>
                      <c:pt idx="447">
                        <c:v>448</c:v>
                      </c:pt>
                      <c:pt idx="448">
                        <c:v>449</c:v>
                      </c:pt>
                      <c:pt idx="449">
                        <c:v>450</c:v>
                      </c:pt>
                      <c:pt idx="450">
                        <c:v>451</c:v>
                      </c:pt>
                      <c:pt idx="451">
                        <c:v>452</c:v>
                      </c:pt>
                      <c:pt idx="452">
                        <c:v>453</c:v>
                      </c:pt>
                      <c:pt idx="453">
                        <c:v>454</c:v>
                      </c:pt>
                      <c:pt idx="454">
                        <c:v>455</c:v>
                      </c:pt>
                      <c:pt idx="455">
                        <c:v>456</c:v>
                      </c:pt>
                      <c:pt idx="456">
                        <c:v>457</c:v>
                      </c:pt>
                      <c:pt idx="457">
                        <c:v>458</c:v>
                      </c:pt>
                      <c:pt idx="458">
                        <c:v>459</c:v>
                      </c:pt>
                      <c:pt idx="459">
                        <c:v>460</c:v>
                      </c:pt>
                      <c:pt idx="460">
                        <c:v>461</c:v>
                      </c:pt>
                      <c:pt idx="461">
                        <c:v>462</c:v>
                      </c:pt>
                      <c:pt idx="462">
                        <c:v>463</c:v>
                      </c:pt>
                      <c:pt idx="463">
                        <c:v>464</c:v>
                      </c:pt>
                      <c:pt idx="464">
                        <c:v>465</c:v>
                      </c:pt>
                      <c:pt idx="465">
                        <c:v>466</c:v>
                      </c:pt>
                      <c:pt idx="466">
                        <c:v>467</c:v>
                      </c:pt>
                      <c:pt idx="467">
                        <c:v>468</c:v>
                      </c:pt>
                      <c:pt idx="468">
                        <c:v>469</c:v>
                      </c:pt>
                      <c:pt idx="469">
                        <c:v>470</c:v>
                      </c:pt>
                      <c:pt idx="470">
                        <c:v>471</c:v>
                      </c:pt>
                      <c:pt idx="471">
                        <c:v>472</c:v>
                      </c:pt>
                      <c:pt idx="472">
                        <c:v>473</c:v>
                      </c:pt>
                      <c:pt idx="473">
                        <c:v>474</c:v>
                      </c:pt>
                      <c:pt idx="474">
                        <c:v>475</c:v>
                      </c:pt>
                      <c:pt idx="475">
                        <c:v>476</c:v>
                      </c:pt>
                      <c:pt idx="476">
                        <c:v>477</c:v>
                      </c:pt>
                      <c:pt idx="477">
                        <c:v>478</c:v>
                      </c:pt>
                      <c:pt idx="478">
                        <c:v>479</c:v>
                      </c:pt>
                      <c:pt idx="479">
                        <c:v>480</c:v>
                      </c:pt>
                      <c:pt idx="480">
                        <c:v>481</c:v>
                      </c:pt>
                      <c:pt idx="481">
                        <c:v>482</c:v>
                      </c:pt>
                      <c:pt idx="482">
                        <c:v>483</c:v>
                      </c:pt>
                      <c:pt idx="483">
                        <c:v>484</c:v>
                      </c:pt>
                      <c:pt idx="484">
                        <c:v>485</c:v>
                      </c:pt>
                      <c:pt idx="485">
                        <c:v>486</c:v>
                      </c:pt>
                      <c:pt idx="486">
                        <c:v>487</c:v>
                      </c:pt>
                      <c:pt idx="487">
                        <c:v>488</c:v>
                      </c:pt>
                      <c:pt idx="488">
                        <c:v>489</c:v>
                      </c:pt>
                      <c:pt idx="489">
                        <c:v>490</c:v>
                      </c:pt>
                      <c:pt idx="490">
                        <c:v>491</c:v>
                      </c:pt>
                      <c:pt idx="491">
                        <c:v>492</c:v>
                      </c:pt>
                      <c:pt idx="492">
                        <c:v>493</c:v>
                      </c:pt>
                      <c:pt idx="493">
                        <c:v>494</c:v>
                      </c:pt>
                      <c:pt idx="494">
                        <c:v>495</c:v>
                      </c:pt>
                      <c:pt idx="495">
                        <c:v>496</c:v>
                      </c:pt>
                      <c:pt idx="496">
                        <c:v>497</c:v>
                      </c:pt>
                      <c:pt idx="497">
                        <c:v>498</c:v>
                      </c:pt>
                      <c:pt idx="498">
                        <c:v>499</c:v>
                      </c:pt>
                      <c:pt idx="499">
                        <c:v>500</c:v>
                      </c:pt>
                      <c:pt idx="500">
                        <c:v>501</c:v>
                      </c:pt>
                      <c:pt idx="501">
                        <c:v>502</c:v>
                      </c:pt>
                      <c:pt idx="502">
                        <c:v>503</c:v>
                      </c:pt>
                      <c:pt idx="503">
                        <c:v>504</c:v>
                      </c:pt>
                      <c:pt idx="504">
                        <c:v>505</c:v>
                      </c:pt>
                      <c:pt idx="505">
                        <c:v>506</c:v>
                      </c:pt>
                      <c:pt idx="506">
                        <c:v>507</c:v>
                      </c:pt>
                      <c:pt idx="507">
                        <c:v>508</c:v>
                      </c:pt>
                      <c:pt idx="508">
                        <c:v>509</c:v>
                      </c:pt>
                    </c:numCache>
                  </c:numRef>
                </c:cat>
                <c:val>
                  <c:numRef>
                    <c:extLst xmlns:c15="http://schemas.microsoft.com/office/drawing/2012/chart">
                      <c:ext xmlns:c15="http://schemas.microsoft.com/office/drawing/2012/chart" uri="{02D57815-91ED-43cb-92C2-25804820EDAC}">
                        <c15:formulaRef>
                          <c15:sqref>Chart!$D$5:$D$513</c15:sqref>
                        </c15:formulaRef>
                      </c:ext>
                    </c:extLst>
                    <c:numCache>
                      <c:formatCode>0%</c:formatCode>
                      <c:ptCount val="509"/>
                      <c:pt idx="0">
                        <c:v>-1.14787E-2</c:v>
                      </c:pt>
                      <c:pt idx="1">
                        <c:v>6.4821389082199143E-3</c:v>
                      </c:pt>
                      <c:pt idx="2">
                        <c:v>1.1613788741657416E-2</c:v>
                      </c:pt>
                      <c:pt idx="3">
                        <c:v>4.0378116372116413E-2</c:v>
                      </c:pt>
                      <c:pt idx="4">
                        <c:v>3.835250017953995E-2</c:v>
                      </c:pt>
                      <c:pt idx="5">
                        <c:v>3.4436249889862713E-2</c:v>
                      </c:pt>
                      <c:pt idx="6">
                        <c:v>4.6185066485236792E-2</c:v>
                      </c:pt>
                      <c:pt idx="7">
                        <c:v>6.2525326420163063E-2</c:v>
                      </c:pt>
                      <c:pt idx="8">
                        <c:v>5.4017579878984145E-2</c:v>
                      </c:pt>
                      <c:pt idx="9">
                        <c:v>5.118164017856186E-2</c:v>
                      </c:pt>
                      <c:pt idx="10">
                        <c:v>5.5908173305460718E-2</c:v>
                      </c:pt>
                      <c:pt idx="11">
                        <c:v>5.9014232788056065E-2</c:v>
                      </c:pt>
                      <c:pt idx="12">
                        <c:v>6.5496353005528363E-2</c:v>
                      </c:pt>
                      <c:pt idx="13">
                        <c:v>7.4679333323906638E-2</c:v>
                      </c:pt>
                      <c:pt idx="14">
                        <c:v>8.3457206650562776E-2</c:v>
                      </c:pt>
                      <c:pt idx="15">
                        <c:v>8.3592205418511423E-2</c:v>
                      </c:pt>
                      <c:pt idx="16">
                        <c:v>8.3052034704110378E-2</c:v>
                      </c:pt>
                      <c:pt idx="17">
                        <c:v>9.1289728480069776E-2</c:v>
                      </c:pt>
                      <c:pt idx="18">
                        <c:v>9.2235003642879176E-2</c:v>
                      </c:pt>
                      <c:pt idx="19">
                        <c:v>8.7913575850966152E-2</c:v>
                      </c:pt>
                      <c:pt idx="20">
                        <c:v>9.1289698050904589E-2</c:v>
                      </c:pt>
                      <c:pt idx="21">
                        <c:v>9.0209321249834051E-2</c:v>
                      </c:pt>
                      <c:pt idx="22">
                        <c:v>9.8987141599877093E-2</c:v>
                      </c:pt>
                      <c:pt idx="23">
                        <c:v>0.10587438411756933</c:v>
                      </c:pt>
                      <c:pt idx="24">
                        <c:v>0.10654963101651149</c:v>
                      </c:pt>
                      <c:pt idx="25">
                        <c:v>9.8852139818271345E-2</c:v>
                      </c:pt>
                      <c:pt idx="26">
                        <c:v>0.10317359562853468</c:v>
                      </c:pt>
                      <c:pt idx="27">
                        <c:v>0.1123566332732655</c:v>
                      </c:pt>
                      <c:pt idx="28">
                        <c:v>0.10465912537101452</c:v>
                      </c:pt>
                      <c:pt idx="29">
                        <c:v>9.7366718154877629E-2</c:v>
                      </c:pt>
                      <c:pt idx="30">
                        <c:v>8.1566612673540151E-2</c:v>
                      </c:pt>
                      <c:pt idx="31">
                        <c:v>7.5894769200018919E-2</c:v>
                      </c:pt>
                      <c:pt idx="32">
                        <c:v>8.3187183945656606E-2</c:v>
                      </c:pt>
                      <c:pt idx="33">
                        <c:v>9.1830042805077339E-2</c:v>
                      </c:pt>
                      <c:pt idx="34">
                        <c:v>8.9939429902956114E-2</c:v>
                      </c:pt>
                      <c:pt idx="35">
                        <c:v>8.6023168537371797E-2</c:v>
                      </c:pt>
                      <c:pt idx="36">
                        <c:v>8.6428255179236135E-2</c:v>
                      </c:pt>
                      <c:pt idx="37">
                        <c:v>8.1431662990841369E-2</c:v>
                      </c:pt>
                      <c:pt idx="38">
                        <c:v>8.2106908921212751E-2</c:v>
                      </c:pt>
                      <c:pt idx="39">
                        <c:v>8.3592425285779814E-2</c:v>
                      </c:pt>
                      <c:pt idx="40">
                        <c:v>9.1695096005096843E-2</c:v>
                      </c:pt>
                      <c:pt idx="41">
                        <c:v>0.10357896131167954</c:v>
                      </c:pt>
                      <c:pt idx="42">
                        <c:v>0.10803543387324854</c:v>
                      </c:pt>
                      <c:pt idx="43">
                        <c:v>0.10925083794066426</c:v>
                      </c:pt>
                      <c:pt idx="44">
                        <c:v>0.12086458328881911</c:v>
                      </c:pt>
                      <c:pt idx="45">
                        <c:v>0.11721841079938056</c:v>
                      </c:pt>
                      <c:pt idx="46">
                        <c:v>0.11600298889027183</c:v>
                      </c:pt>
                      <c:pt idx="47">
                        <c:v>0.10249857152260744</c:v>
                      </c:pt>
                      <c:pt idx="48">
                        <c:v>0.10168834532239557</c:v>
                      </c:pt>
                      <c:pt idx="49">
                        <c:v>9.7501929610170457E-2</c:v>
                      </c:pt>
                      <c:pt idx="50">
                        <c:v>9.331561824986534E-2</c:v>
                      </c:pt>
                      <c:pt idx="51">
                        <c:v>9.898741168266012E-2</c:v>
                      </c:pt>
                      <c:pt idx="52">
                        <c:v>0.10317378442998271</c:v>
                      </c:pt>
                      <c:pt idx="53">
                        <c:v>0.10020282711113437</c:v>
                      </c:pt>
                      <c:pt idx="54">
                        <c:v>9.3855757001530149E-2</c:v>
                      </c:pt>
                      <c:pt idx="55">
                        <c:v>8.8589060302719069E-2</c:v>
                      </c:pt>
                      <c:pt idx="56">
                        <c:v>8.5348004093479757E-2</c:v>
                      </c:pt>
                      <c:pt idx="57">
                        <c:v>8.4807826391842367E-2</c:v>
                      </c:pt>
                      <c:pt idx="58">
                        <c:v>8.5483010782988478E-2</c:v>
                      </c:pt>
                      <c:pt idx="59">
                        <c:v>8.7778807350794574E-2</c:v>
                      </c:pt>
                      <c:pt idx="60">
                        <c:v>0.10195843921613501</c:v>
                      </c:pt>
                      <c:pt idx="61">
                        <c:v>0.10979093941039553</c:v>
                      </c:pt>
                      <c:pt idx="62">
                        <c:v>0.11829870773100959</c:v>
                      </c:pt>
                      <c:pt idx="63">
                        <c:v>0.11829870773100959</c:v>
                      </c:pt>
                      <c:pt idx="64">
                        <c:v>0.12721166026149655</c:v>
                      </c:pt>
                      <c:pt idx="65">
                        <c:v>0.13315364380739902</c:v>
                      </c:pt>
                      <c:pt idx="66">
                        <c:v>0.1415264027661276</c:v>
                      </c:pt>
                      <c:pt idx="67">
                        <c:v>0.13855546615028858</c:v>
                      </c:pt>
                      <c:pt idx="68">
                        <c:v>0.15111452993075258</c:v>
                      </c:pt>
                      <c:pt idx="69">
                        <c:v>0.15854198132367769</c:v>
                      </c:pt>
                      <c:pt idx="70">
                        <c:v>0.15894712345454654</c:v>
                      </c:pt>
                      <c:pt idx="71">
                        <c:v>0.16232325231988187</c:v>
                      </c:pt>
                      <c:pt idx="72">
                        <c:v>0.16664465393968197</c:v>
                      </c:pt>
                      <c:pt idx="73">
                        <c:v>0.16826512336400423</c:v>
                      </c:pt>
                      <c:pt idx="74">
                        <c:v>0.15935219508483556</c:v>
                      </c:pt>
                      <c:pt idx="75">
                        <c:v>0.15881205289714551</c:v>
                      </c:pt>
                      <c:pt idx="76">
                        <c:v>0.16353861549850235</c:v>
                      </c:pt>
                      <c:pt idx="77">
                        <c:v>0.17029086279196304</c:v>
                      </c:pt>
                      <c:pt idx="78">
                        <c:v>0.16961560496413197</c:v>
                      </c:pt>
                      <c:pt idx="79">
                        <c:v>0.16718479285233512</c:v>
                      </c:pt>
                      <c:pt idx="80">
                        <c:v>0.17123609126832551</c:v>
                      </c:pt>
                      <c:pt idx="81">
                        <c:v>0.17974383311168962</c:v>
                      </c:pt>
                      <c:pt idx="82">
                        <c:v>0.17731308891794639</c:v>
                      </c:pt>
                      <c:pt idx="83">
                        <c:v>0.174207101526763</c:v>
                      </c:pt>
                      <c:pt idx="84">
                        <c:v>0.18460552735575364</c:v>
                      </c:pt>
                      <c:pt idx="85">
                        <c:v>0.17974390627148562</c:v>
                      </c:pt>
                      <c:pt idx="86">
                        <c:v>0.18149948317840825</c:v>
                      </c:pt>
                      <c:pt idx="87">
                        <c:v>0.18271489169675381</c:v>
                      </c:pt>
                      <c:pt idx="88">
                        <c:v>0.19068248710764735</c:v>
                      </c:pt>
                      <c:pt idx="89">
                        <c:v>0.1920329591845249</c:v>
                      </c:pt>
                      <c:pt idx="90">
                        <c:v>0.18649620449570459</c:v>
                      </c:pt>
                      <c:pt idx="91">
                        <c:v>0.18690139294953978</c:v>
                      </c:pt>
                      <c:pt idx="92">
                        <c:v>0.18028418030356752</c:v>
                      </c:pt>
                      <c:pt idx="93">
                        <c:v>0.17947391521378897</c:v>
                      </c:pt>
                      <c:pt idx="94">
                        <c:v>0.18095934466260921</c:v>
                      </c:pt>
                      <c:pt idx="95">
                        <c:v>0.18041917385836048</c:v>
                      </c:pt>
                      <c:pt idx="96">
                        <c:v>0.16759002415111568</c:v>
                      </c:pt>
                      <c:pt idx="97">
                        <c:v>0.17191139158950142</c:v>
                      </c:pt>
                      <c:pt idx="98">
                        <c:v>0.18406540182281517</c:v>
                      </c:pt>
                      <c:pt idx="99">
                        <c:v>0.1905475678650943</c:v>
                      </c:pt>
                      <c:pt idx="100">
                        <c:v>0.19230314930866821</c:v>
                      </c:pt>
                      <c:pt idx="101">
                        <c:v>0.18973731293135598</c:v>
                      </c:pt>
                      <c:pt idx="102">
                        <c:v>0.19054752404146225</c:v>
                      </c:pt>
                      <c:pt idx="103">
                        <c:v>0.19203297018720877</c:v>
                      </c:pt>
                      <c:pt idx="104">
                        <c:v>0.19554410330089533</c:v>
                      </c:pt>
                      <c:pt idx="105">
                        <c:v>0.20040566384255798</c:v>
                      </c:pt>
                      <c:pt idx="106">
                        <c:v>0.19419368457273922</c:v>
                      </c:pt>
                      <c:pt idx="107">
                        <c:v>0.19311329754630635</c:v>
                      </c:pt>
                      <c:pt idx="108">
                        <c:v>0.20445694153405758</c:v>
                      </c:pt>
                      <c:pt idx="109">
                        <c:v>0.21661087563968939</c:v>
                      </c:pt>
                      <c:pt idx="110">
                        <c:v>0.21877157655482549</c:v>
                      </c:pt>
                      <c:pt idx="111">
                        <c:v>0.21809637710141394</c:v>
                      </c:pt>
                      <c:pt idx="112">
                        <c:v>0.21539549200446695</c:v>
                      </c:pt>
                      <c:pt idx="113">
                        <c:v>0.21877161760215702</c:v>
                      </c:pt>
                      <c:pt idx="114">
                        <c:v>0.2280896141273725</c:v>
                      </c:pt>
                      <c:pt idx="115">
                        <c:v>0.22714435355137863</c:v>
                      </c:pt>
                      <c:pt idx="116">
                        <c:v>0.22768454249581183</c:v>
                      </c:pt>
                      <c:pt idx="117">
                        <c:v>0.22525372710167013</c:v>
                      </c:pt>
                      <c:pt idx="118">
                        <c:v>0.22484853569411767</c:v>
                      </c:pt>
                      <c:pt idx="119">
                        <c:v>0.21809631317139666</c:v>
                      </c:pt>
                      <c:pt idx="120">
                        <c:v>0.20513211411031351</c:v>
                      </c:pt>
                      <c:pt idx="121">
                        <c:v>0.20486204400354135</c:v>
                      </c:pt>
                      <c:pt idx="122">
                        <c:v>0.2125595461440668</c:v>
                      </c:pt>
                      <c:pt idx="123">
                        <c:v>0.21458524812185509</c:v>
                      </c:pt>
                      <c:pt idx="124">
                        <c:v>0.20675275223229161</c:v>
                      </c:pt>
                      <c:pt idx="125">
                        <c:v>0.19162779593691281</c:v>
                      </c:pt>
                      <c:pt idx="126">
                        <c:v>0.20027055317806353</c:v>
                      </c:pt>
                      <c:pt idx="127">
                        <c:v>0.19892012877868281</c:v>
                      </c:pt>
                      <c:pt idx="128">
                        <c:v>0.20810313761305044</c:v>
                      </c:pt>
                      <c:pt idx="129">
                        <c:v>0.22120235831356116</c:v>
                      </c:pt>
                      <c:pt idx="130">
                        <c:v>0.22984517376405367</c:v>
                      </c:pt>
                      <c:pt idx="131">
                        <c:v>0.24051358870838735</c:v>
                      </c:pt>
                      <c:pt idx="132">
                        <c:v>0.24159395199279343</c:v>
                      </c:pt>
                      <c:pt idx="133">
                        <c:v>0.24388965921002814</c:v>
                      </c:pt>
                      <c:pt idx="134">
                        <c:v>0.24645555479904657</c:v>
                      </c:pt>
                      <c:pt idx="135">
                        <c:v>0.2507770162075349</c:v>
                      </c:pt>
                      <c:pt idx="136">
                        <c:v>0.25739412693407937</c:v>
                      </c:pt>
                      <c:pt idx="137">
                        <c:v>0.25617872977098477</c:v>
                      </c:pt>
                      <c:pt idx="138">
                        <c:v>0.26684720448718369</c:v>
                      </c:pt>
                      <c:pt idx="139">
                        <c:v>0.26954812272715034</c:v>
                      </c:pt>
                      <c:pt idx="140">
                        <c:v>0.26765751166278506</c:v>
                      </c:pt>
                      <c:pt idx="141">
                        <c:v>0.26495664056843626</c:v>
                      </c:pt>
                      <c:pt idx="142">
                        <c:v>0.2681977124729007</c:v>
                      </c:pt>
                      <c:pt idx="143">
                        <c:v>0.27373453686578619</c:v>
                      </c:pt>
                      <c:pt idx="144">
                        <c:v>0.27535510931704033</c:v>
                      </c:pt>
                      <c:pt idx="145">
                        <c:v>0.27724569573109181</c:v>
                      </c:pt>
                      <c:pt idx="146">
                        <c:v>0.26401138673020452</c:v>
                      </c:pt>
                      <c:pt idx="147">
                        <c:v>0.26063533871738676</c:v>
                      </c:pt>
                      <c:pt idx="148">
                        <c:v>0.266037035080257</c:v>
                      </c:pt>
                      <c:pt idx="149">
                        <c:v>0.26239084841922589</c:v>
                      </c:pt>
                      <c:pt idx="150">
                        <c:v>0.25199240876171181</c:v>
                      </c:pt>
                      <c:pt idx="151">
                        <c:v>0.25779927475278952</c:v>
                      </c:pt>
                      <c:pt idx="152">
                        <c:v>0.2529377547759426</c:v>
                      </c:pt>
                      <c:pt idx="153">
                        <c:v>0.24956171399569871</c:v>
                      </c:pt>
                      <c:pt idx="154">
                        <c:v>0.24334964289074046</c:v>
                      </c:pt>
                      <c:pt idx="155">
                        <c:v>0.23794791036720175</c:v>
                      </c:pt>
                      <c:pt idx="156">
                        <c:v>0.2320060079870212</c:v>
                      </c:pt>
                      <c:pt idx="157">
                        <c:v>0.21782635803869543</c:v>
                      </c:pt>
                      <c:pt idx="158">
                        <c:v>0.23146576968345722</c:v>
                      </c:pt>
                      <c:pt idx="159">
                        <c:v>0.22862982716245317</c:v>
                      </c:pt>
                      <c:pt idx="160">
                        <c:v>0.22201267263932167</c:v>
                      </c:pt>
                      <c:pt idx="161">
                        <c:v>0.20297151557679038</c:v>
                      </c:pt>
                      <c:pt idx="162">
                        <c:v>0.21850151695143216</c:v>
                      </c:pt>
                      <c:pt idx="163">
                        <c:v>0.21255961615417029</c:v>
                      </c:pt>
                      <c:pt idx="164">
                        <c:v>0.19419358192809111</c:v>
                      </c:pt>
                      <c:pt idx="165">
                        <c:v>0.21850151170759546</c:v>
                      </c:pt>
                      <c:pt idx="166">
                        <c:v>0.22768450465027734</c:v>
                      </c:pt>
                      <c:pt idx="167">
                        <c:v>0.23430160136189171</c:v>
                      </c:pt>
                      <c:pt idx="168">
                        <c:v>0.23646224631507562</c:v>
                      </c:pt>
                      <c:pt idx="169">
                        <c:v>0.24294439964138248</c:v>
                      </c:pt>
                      <c:pt idx="170">
                        <c:v>0.25077693807016255</c:v>
                      </c:pt>
                      <c:pt idx="171">
                        <c:v>0.24780596760916462</c:v>
                      </c:pt>
                      <c:pt idx="172">
                        <c:v>0.24902133062161602</c:v>
                      </c:pt>
                      <c:pt idx="173">
                        <c:v>0.2496965515529499</c:v>
                      </c:pt>
                      <c:pt idx="174">
                        <c:v>0.24929139993093652</c:v>
                      </c:pt>
                      <c:pt idx="175">
                        <c:v>0.24888625472993886</c:v>
                      </c:pt>
                      <c:pt idx="176">
                        <c:v>0.24510500181649308</c:v>
                      </c:pt>
                      <c:pt idx="177">
                        <c:v>0.24199896287896161</c:v>
                      </c:pt>
                      <c:pt idx="178">
                        <c:v>0.24240410294065273</c:v>
                      </c:pt>
                      <c:pt idx="179">
                        <c:v>0.2375425756858458</c:v>
                      </c:pt>
                      <c:pt idx="180">
                        <c:v>0.2329510452215362</c:v>
                      </c:pt>
                      <c:pt idx="181">
                        <c:v>0.23308605336098798</c:v>
                      </c:pt>
                      <c:pt idx="182">
                        <c:v>0.22687401244136596</c:v>
                      </c:pt>
                      <c:pt idx="183">
                        <c:v>0.22403809316160772</c:v>
                      </c:pt>
                      <c:pt idx="184">
                        <c:v>0.22768425783351742</c:v>
                      </c:pt>
                      <c:pt idx="185">
                        <c:v>0.23376129490979336</c:v>
                      </c:pt>
                      <c:pt idx="186">
                        <c:v>0.23322115421488188</c:v>
                      </c:pt>
                      <c:pt idx="187">
                        <c:v>0.2382177963654144</c:v>
                      </c:pt>
                      <c:pt idx="188">
                        <c:v>0.24307941089928398</c:v>
                      </c:pt>
                      <c:pt idx="189">
                        <c:v>0.24888633205935906</c:v>
                      </c:pt>
                      <c:pt idx="190">
                        <c:v>0.24780592049349459</c:v>
                      </c:pt>
                      <c:pt idx="191">
                        <c:v>0.24807607047528157</c:v>
                      </c:pt>
                      <c:pt idx="192">
                        <c:v>0.25239753386930208</c:v>
                      </c:pt>
                      <c:pt idx="193">
                        <c:v>0.25253254232345324</c:v>
                      </c:pt>
                      <c:pt idx="194">
                        <c:v>0.26266089622044331</c:v>
                      </c:pt>
                      <c:pt idx="195">
                        <c:v>0.26468658309624971</c:v>
                      </c:pt>
                      <c:pt idx="196">
                        <c:v>0.26738744776310996</c:v>
                      </c:pt>
                      <c:pt idx="197">
                        <c:v>0.26995327365110655</c:v>
                      </c:pt>
                      <c:pt idx="198">
                        <c:v>0.26576687268451571</c:v>
                      </c:pt>
                      <c:pt idx="199">
                        <c:v>0.26590193000983109</c:v>
                      </c:pt>
                      <c:pt idx="200">
                        <c:v>0.27022333942830579</c:v>
                      </c:pt>
                      <c:pt idx="201">
                        <c:v>0.27413956500609715</c:v>
                      </c:pt>
                      <c:pt idx="202">
                        <c:v>0.27603013329265313</c:v>
                      </c:pt>
                      <c:pt idx="203">
                        <c:v>0.27954125780742123</c:v>
                      </c:pt>
                      <c:pt idx="204">
                        <c:v>0.28791393602788418</c:v>
                      </c:pt>
                      <c:pt idx="205">
                        <c:v>0.29345067803886815</c:v>
                      </c:pt>
                      <c:pt idx="206">
                        <c:v>0.2918301136843533</c:v>
                      </c:pt>
                      <c:pt idx="207">
                        <c:v>0.29412582497938167</c:v>
                      </c:pt>
                      <c:pt idx="208">
                        <c:v>0.2907497095271756</c:v>
                      </c:pt>
                      <c:pt idx="209">
                        <c:v>0.29223523336787061</c:v>
                      </c:pt>
                      <c:pt idx="210">
                        <c:v>0.29345058060485307</c:v>
                      </c:pt>
                      <c:pt idx="211">
                        <c:v>0.29007454524441645</c:v>
                      </c:pt>
                      <c:pt idx="212">
                        <c:v>0.28494288671834322</c:v>
                      </c:pt>
                      <c:pt idx="213">
                        <c:v>0.27805559284553283</c:v>
                      </c:pt>
                      <c:pt idx="214">
                        <c:v>0.27981113000786539</c:v>
                      </c:pt>
                      <c:pt idx="215">
                        <c:v>0.27684017645066517</c:v>
                      </c:pt>
                      <c:pt idx="216">
                        <c:v>0.27792051092395997</c:v>
                      </c:pt>
                      <c:pt idx="217">
                        <c:v>0.27994614272582563</c:v>
                      </c:pt>
                      <c:pt idx="218">
                        <c:v>0.27278881189031701</c:v>
                      </c:pt>
                      <c:pt idx="219">
                        <c:v>0.26590162435029741</c:v>
                      </c:pt>
                      <c:pt idx="220">
                        <c:v>0.26414607197764828</c:v>
                      </c:pt>
                      <c:pt idx="221">
                        <c:v>0.2571237405478124</c:v>
                      </c:pt>
                      <c:pt idx="222">
                        <c:v>0.25185702063678739</c:v>
                      </c:pt>
                      <c:pt idx="223">
                        <c:v>0.25104681877303126</c:v>
                      </c:pt>
                      <c:pt idx="224">
                        <c:v>0.25428790576642668</c:v>
                      </c:pt>
                      <c:pt idx="225">
                        <c:v>0.25685380253525314</c:v>
                      </c:pt>
                      <c:pt idx="226">
                        <c:v>0.26455127796349998</c:v>
                      </c:pt>
                      <c:pt idx="227">
                        <c:v>0.265091494269446</c:v>
                      </c:pt>
                      <c:pt idx="228">
                        <c:v>0.27224887590742464</c:v>
                      </c:pt>
                      <c:pt idx="229">
                        <c:v>0.27467963460973333</c:v>
                      </c:pt>
                      <c:pt idx="230">
                        <c:v>0.27386932076601189</c:v>
                      </c:pt>
                      <c:pt idx="231">
                        <c:v>0.2742744112100155</c:v>
                      </c:pt>
                      <c:pt idx="232">
                        <c:v>0.27670521707683982</c:v>
                      </c:pt>
                      <c:pt idx="233">
                        <c:v>0.28278220623960393</c:v>
                      </c:pt>
                      <c:pt idx="234">
                        <c:v>0.29628656763757077</c:v>
                      </c:pt>
                      <c:pt idx="235">
                        <c:v>0.2991224537615913</c:v>
                      </c:pt>
                      <c:pt idx="236">
                        <c:v>0.30006782517119368</c:v>
                      </c:pt>
                      <c:pt idx="237">
                        <c:v>0.30357891834663331</c:v>
                      </c:pt>
                      <c:pt idx="238">
                        <c:v>0.29871735112855147</c:v>
                      </c:pt>
                      <c:pt idx="239">
                        <c:v>0.29817721458221702</c:v>
                      </c:pt>
                      <c:pt idx="240">
                        <c:v>0.30654993834538646</c:v>
                      </c:pt>
                      <c:pt idx="241">
                        <c:v>0.30992606338607076</c:v>
                      </c:pt>
                      <c:pt idx="242">
                        <c:v>0.3178936886666166</c:v>
                      </c:pt>
                      <c:pt idx="243">
                        <c:v>0.30668500284450695</c:v>
                      </c:pt>
                      <c:pt idx="244">
                        <c:v>0.30709007519538889</c:v>
                      </c:pt>
                      <c:pt idx="245">
                        <c:v>0.30709007519538889</c:v>
                      </c:pt>
                      <c:pt idx="246">
                        <c:v>0.30600976524823986</c:v>
                      </c:pt>
                      <c:pt idx="247">
                        <c:v>0.30074301966792327</c:v>
                      </c:pt>
                      <c:pt idx="248">
                        <c:v>0.3051994953276076</c:v>
                      </c:pt>
                      <c:pt idx="249">
                        <c:v>0.30222846971639328</c:v>
                      </c:pt>
                      <c:pt idx="250">
                        <c:v>0.30546958615467035</c:v>
                      </c:pt>
                      <c:pt idx="251">
                        <c:v>0.3134371281328896</c:v>
                      </c:pt>
                      <c:pt idx="252">
                        <c:v>0.3168131869270423</c:v>
                      </c:pt>
                      <c:pt idx="253">
                        <c:v>0.30776523183834792</c:v>
                      </c:pt>
                      <c:pt idx="254">
                        <c:v>0.30141812406214363</c:v>
                      </c:pt>
                      <c:pt idx="255">
                        <c:v>0.29304545056098985</c:v>
                      </c:pt>
                      <c:pt idx="256">
                        <c:v>0.2964215922324045</c:v>
                      </c:pt>
                      <c:pt idx="257">
                        <c:v>0.28629329854308883</c:v>
                      </c:pt>
                      <c:pt idx="258">
                        <c:v>0.28291716452240268</c:v>
                      </c:pt>
                      <c:pt idx="259">
                        <c:v>0.28629328933255982</c:v>
                      </c:pt>
                      <c:pt idx="260">
                        <c:v>0.28872412639074052</c:v>
                      </c:pt>
                      <c:pt idx="261">
                        <c:v>0.28804896382092449</c:v>
                      </c:pt>
                      <c:pt idx="262">
                        <c:v>0.28237716901363541</c:v>
                      </c:pt>
                      <c:pt idx="263">
                        <c:v>0.27508480300432248</c:v>
                      </c:pt>
                      <c:pt idx="264">
                        <c:v>0.27643524531918429</c:v>
                      </c:pt>
                      <c:pt idx="265">
                        <c:v>0.28210708533176021</c:v>
                      </c:pt>
                      <c:pt idx="266">
                        <c:v>0.28237722529463971</c:v>
                      </c:pt>
                      <c:pt idx="267">
                        <c:v>0.28008151358591737</c:v>
                      </c:pt>
                      <c:pt idx="268">
                        <c:v>0.26806257223855656</c:v>
                      </c:pt>
                      <c:pt idx="269">
                        <c:v>0.2519922884543202</c:v>
                      </c:pt>
                      <c:pt idx="270">
                        <c:v>0.24699571243032792</c:v>
                      </c:pt>
                      <c:pt idx="271">
                        <c:v>0.23943330693229425</c:v>
                      </c:pt>
                      <c:pt idx="272">
                        <c:v>0.23538197128192473</c:v>
                      </c:pt>
                      <c:pt idx="273">
                        <c:v>0.23079042710926112</c:v>
                      </c:pt>
                      <c:pt idx="274">
                        <c:v>0.23686745484311311</c:v>
                      </c:pt>
                      <c:pt idx="275">
                        <c:v>0.24524018170518258</c:v>
                      </c:pt>
                      <c:pt idx="276">
                        <c:v>0.24199907056024039</c:v>
                      </c:pt>
                      <c:pt idx="277">
                        <c:v>0.23416652762165913</c:v>
                      </c:pt>
                      <c:pt idx="278">
                        <c:v>0.23916317422538813</c:v>
                      </c:pt>
                      <c:pt idx="279">
                        <c:v>0.25050684567119963</c:v>
                      </c:pt>
                      <c:pt idx="280">
                        <c:v>0.2534777998351454</c:v>
                      </c:pt>
                      <c:pt idx="281">
                        <c:v>0.23767771216822342</c:v>
                      </c:pt>
                      <c:pt idx="282">
                        <c:v>0.25725913502020803</c:v>
                      </c:pt>
                      <c:pt idx="283">
                        <c:v>0.26468651908625351</c:v>
                      </c:pt>
                      <c:pt idx="284">
                        <c:v>0.2680625997489543</c:v>
                      </c:pt>
                      <c:pt idx="285">
                        <c:v>0.27170878694827238</c:v>
                      </c:pt>
                      <c:pt idx="286">
                        <c:v>0.27576006963085353</c:v>
                      </c:pt>
                      <c:pt idx="287">
                        <c:v>0.27576006963085353</c:v>
                      </c:pt>
                      <c:pt idx="288">
                        <c:v>0.269413035708433</c:v>
                      </c:pt>
                      <c:pt idx="289">
                        <c:v>0.27616517058666967</c:v>
                      </c:pt>
                      <c:pt idx="290">
                        <c:v>0.28426779848775863</c:v>
                      </c:pt>
                      <c:pt idx="291">
                        <c:v>0.28602339256829135</c:v>
                      </c:pt>
                      <c:pt idx="292">
                        <c:v>0.29156023768265493</c:v>
                      </c:pt>
                      <c:pt idx="293">
                        <c:v>0.29007481425329606</c:v>
                      </c:pt>
                      <c:pt idx="294">
                        <c:v>0.2885892931046834</c:v>
                      </c:pt>
                      <c:pt idx="295">
                        <c:v>0.28453796836716228</c:v>
                      </c:pt>
                      <c:pt idx="296">
                        <c:v>0.28305252866054254</c:v>
                      </c:pt>
                      <c:pt idx="297">
                        <c:v>0.28750895500833917</c:v>
                      </c:pt>
                      <c:pt idx="298">
                        <c:v>0.28926447346849304</c:v>
                      </c:pt>
                      <c:pt idx="299">
                        <c:v>0.28332251136317144</c:v>
                      </c:pt>
                      <c:pt idx="300">
                        <c:v>0.27981134097208193</c:v>
                      </c:pt>
                      <c:pt idx="301">
                        <c:v>0.27792067567806389</c:v>
                      </c:pt>
                      <c:pt idx="302">
                        <c:v>0.28494297758298259</c:v>
                      </c:pt>
                      <c:pt idx="303">
                        <c:v>0.28804894174839624</c:v>
                      </c:pt>
                      <c:pt idx="304">
                        <c:v>0.28561813578552875</c:v>
                      </c:pt>
                      <c:pt idx="305">
                        <c:v>0.28642846089651441</c:v>
                      </c:pt>
                      <c:pt idx="306">
                        <c:v>0.29520627685659573</c:v>
                      </c:pt>
                      <c:pt idx="307">
                        <c:v>0.2949362263478712</c:v>
                      </c:pt>
                      <c:pt idx="308">
                        <c:v>0.30276877760655885</c:v>
                      </c:pt>
                      <c:pt idx="309">
                        <c:v>0.29790723535916452</c:v>
                      </c:pt>
                      <c:pt idx="310">
                        <c:v>0.29196528624496665</c:v>
                      </c:pt>
                      <c:pt idx="311">
                        <c:v>0.28777893112794706</c:v>
                      </c:pt>
                      <c:pt idx="312">
                        <c:v>0.29561146014285344</c:v>
                      </c:pt>
                      <c:pt idx="313">
                        <c:v>0.30479449505005407</c:v>
                      </c:pt>
                      <c:pt idx="314">
                        <c:v>0.30317394028720202</c:v>
                      </c:pt>
                      <c:pt idx="315">
                        <c:v>0.30344408824502356</c:v>
                      </c:pt>
                      <c:pt idx="316">
                        <c:v>0.30479458666485426</c:v>
                      </c:pt>
                      <c:pt idx="317">
                        <c:v>0.30614504906205231</c:v>
                      </c:pt>
                      <c:pt idx="318">
                        <c:v>0.30209377896337664</c:v>
                      </c:pt>
                      <c:pt idx="319">
                        <c:v>0.29399110979564336</c:v>
                      </c:pt>
                      <c:pt idx="320">
                        <c:v>0.29156034749589232</c:v>
                      </c:pt>
                      <c:pt idx="321">
                        <c:v>0.29047995726521192</c:v>
                      </c:pt>
                      <c:pt idx="322">
                        <c:v>0.28615852703231792</c:v>
                      </c:pt>
                      <c:pt idx="323">
                        <c:v>0.26981826879393034</c:v>
                      </c:pt>
                      <c:pt idx="324">
                        <c:v>0.26482166088805315</c:v>
                      </c:pt>
                      <c:pt idx="325">
                        <c:v>0.25820449340478513</c:v>
                      </c:pt>
                      <c:pt idx="326">
                        <c:v>0.25996006613443279</c:v>
                      </c:pt>
                      <c:pt idx="327">
                        <c:v>0.26198570393275733</c:v>
                      </c:pt>
                      <c:pt idx="328">
                        <c:v>0.26063525303097901</c:v>
                      </c:pt>
                      <c:pt idx="329">
                        <c:v>0.2544232206946182</c:v>
                      </c:pt>
                      <c:pt idx="330">
                        <c:v>0.24564539420780762</c:v>
                      </c:pt>
                      <c:pt idx="331">
                        <c:v>0.24996678720939336</c:v>
                      </c:pt>
                      <c:pt idx="332">
                        <c:v>0.2460505162683877</c:v>
                      </c:pt>
                      <c:pt idx="333">
                        <c:v>0.24064876267531266</c:v>
                      </c:pt>
                      <c:pt idx="334">
                        <c:v>0.241053834496326</c:v>
                      </c:pt>
                      <c:pt idx="335">
                        <c:v>0.24321450922218402</c:v>
                      </c:pt>
                      <c:pt idx="336">
                        <c:v>0.22754938479872977</c:v>
                      </c:pt>
                      <c:pt idx="337">
                        <c:v>0.21350486953230896</c:v>
                      </c:pt>
                      <c:pt idx="338">
                        <c:v>0.21350486953230896</c:v>
                      </c:pt>
                      <c:pt idx="339">
                        <c:v>0.20283634147181573</c:v>
                      </c:pt>
                      <c:pt idx="340">
                        <c:v>0.21728601444191664</c:v>
                      </c:pt>
                      <c:pt idx="341">
                        <c:v>0.21944669711755105</c:v>
                      </c:pt>
                      <c:pt idx="342">
                        <c:v>0.21485523641356408</c:v>
                      </c:pt>
                      <c:pt idx="343">
                        <c:v>0.21958175219635478</c:v>
                      </c:pt>
                      <c:pt idx="344">
                        <c:v>0.22660398196732623</c:v>
                      </c:pt>
                      <c:pt idx="345">
                        <c:v>0.23214074968152865</c:v>
                      </c:pt>
                      <c:pt idx="346">
                        <c:v>0.22741425776575031</c:v>
                      </c:pt>
                      <c:pt idx="347">
                        <c:v>0.21782618854978741</c:v>
                      </c:pt>
                      <c:pt idx="348">
                        <c:v>0.22255269377016806</c:v>
                      </c:pt>
                      <c:pt idx="349">
                        <c:v>0.21647575109524464</c:v>
                      </c:pt>
                      <c:pt idx="350">
                        <c:v>0.20675258206431546</c:v>
                      </c:pt>
                      <c:pt idx="351">
                        <c:v>0.20337645036547403</c:v>
                      </c:pt>
                      <c:pt idx="352">
                        <c:v>0.1873062002343584</c:v>
                      </c:pt>
                      <c:pt idx="353">
                        <c:v>0.18460531609006536</c:v>
                      </c:pt>
                      <c:pt idx="354">
                        <c:v>0.20540212855881101</c:v>
                      </c:pt>
                      <c:pt idx="355">
                        <c:v>0.20324144524336929</c:v>
                      </c:pt>
                      <c:pt idx="356">
                        <c:v>0.20229617876398609</c:v>
                      </c:pt>
                      <c:pt idx="357">
                        <c:v>0.21715102897108651</c:v>
                      </c:pt>
                      <c:pt idx="358">
                        <c:v>0.21850145803773002</c:v>
                      </c:pt>
                      <c:pt idx="359">
                        <c:v>0.21580052770584368</c:v>
                      </c:pt>
                      <c:pt idx="360">
                        <c:v>0.19270797722275712</c:v>
                      </c:pt>
                      <c:pt idx="361">
                        <c:v>0.20324137772359996</c:v>
                      </c:pt>
                      <c:pt idx="362">
                        <c:v>0.20985848335625312</c:v>
                      </c:pt>
                      <c:pt idx="363">
                        <c:v>0.20175581912151963</c:v>
                      </c:pt>
                      <c:pt idx="364">
                        <c:v>0.20162074176745026</c:v>
                      </c:pt>
                      <c:pt idx="365">
                        <c:v>0.19284290224883893</c:v>
                      </c:pt>
                      <c:pt idx="366">
                        <c:v>0.19405828988194029</c:v>
                      </c:pt>
                      <c:pt idx="367">
                        <c:v>0.1928428579486694</c:v>
                      </c:pt>
                      <c:pt idx="368">
                        <c:v>0.20094548162985748</c:v>
                      </c:pt>
                      <c:pt idx="369">
                        <c:v>0.21080368280491246</c:v>
                      </c:pt>
                      <c:pt idx="370">
                        <c:v>0.20958827806811287</c:v>
                      </c:pt>
                      <c:pt idx="371">
                        <c:v>0.21809603818073264</c:v>
                      </c:pt>
                      <c:pt idx="372">
                        <c:v>0.24888609535703488</c:v>
                      </c:pt>
                      <c:pt idx="373">
                        <c:v>0.25104679319061218</c:v>
                      </c:pt>
                      <c:pt idx="374">
                        <c:v>0.2622554218295241</c:v>
                      </c:pt>
                      <c:pt idx="375">
                        <c:v>0.2672520599168362</c:v>
                      </c:pt>
                      <c:pt idx="376">
                        <c:v>0.25982469559366361</c:v>
                      </c:pt>
                      <c:pt idx="377">
                        <c:v>0.28224201622705736</c:v>
                      </c:pt>
                      <c:pt idx="378">
                        <c:v>0.28224201622705736</c:v>
                      </c:pt>
                      <c:pt idx="379">
                        <c:v>0.29196512921190565</c:v>
                      </c:pt>
                      <c:pt idx="380">
                        <c:v>0.30357886215141727</c:v>
                      </c:pt>
                      <c:pt idx="381">
                        <c:v>0.30438916677213079</c:v>
                      </c:pt>
                      <c:pt idx="382">
                        <c:v>0.30479431004733004</c:v>
                      </c:pt>
                      <c:pt idx="383">
                        <c:v>0.30736018805803811</c:v>
                      </c:pt>
                      <c:pt idx="384">
                        <c:v>0.31100641562253184</c:v>
                      </c:pt>
                      <c:pt idx="385">
                        <c:v>0.29439596433659432</c:v>
                      </c:pt>
                      <c:pt idx="386">
                        <c:v>0.28723860185179517</c:v>
                      </c:pt>
                      <c:pt idx="387">
                        <c:v>0.30290365201703051</c:v>
                      </c:pt>
                      <c:pt idx="388">
                        <c:v>0.30479429550647241</c:v>
                      </c:pt>
                      <c:pt idx="389">
                        <c:v>0.30884555131459046</c:v>
                      </c:pt>
                      <c:pt idx="390">
                        <c:v>0.31276187897323404</c:v>
                      </c:pt>
                      <c:pt idx="391">
                        <c:v>0.31613803997357737</c:v>
                      </c:pt>
                      <c:pt idx="392">
                        <c:v>0.31789363650509816</c:v>
                      </c:pt>
                      <c:pt idx="393">
                        <c:v>0.32302525074692157</c:v>
                      </c:pt>
                      <c:pt idx="394">
                        <c:v>0.3313980160462735</c:v>
                      </c:pt>
                      <c:pt idx="395">
                        <c:v>0.33234330863766637</c:v>
                      </c:pt>
                      <c:pt idx="396">
                        <c:v>0.32815695272759582</c:v>
                      </c:pt>
                      <c:pt idx="397">
                        <c:v>0.33558440485433438</c:v>
                      </c:pt>
                      <c:pt idx="398">
                        <c:v>0.33571943243766511</c:v>
                      </c:pt>
                      <c:pt idx="399">
                        <c:v>0.32869715466551064</c:v>
                      </c:pt>
                      <c:pt idx="400">
                        <c:v>0.33018263808442661</c:v>
                      </c:pt>
                      <c:pt idx="401">
                        <c:v>0.32599628728584729</c:v>
                      </c:pt>
                      <c:pt idx="402">
                        <c:v>0.32505098453264125</c:v>
                      </c:pt>
                      <c:pt idx="403">
                        <c:v>0.32437573855092339</c:v>
                      </c:pt>
                      <c:pt idx="404">
                        <c:v>0.31802866782391814</c:v>
                      </c:pt>
                      <c:pt idx="405">
                        <c:v>0.30857563441541824</c:v>
                      </c:pt>
                      <c:pt idx="406">
                        <c:v>0.30249860916919302</c:v>
                      </c:pt>
                      <c:pt idx="407">
                        <c:v>0.3089807539974454</c:v>
                      </c:pt>
                      <c:pt idx="408">
                        <c:v>0.31235687715815552</c:v>
                      </c:pt>
                      <c:pt idx="409">
                        <c:v>0.30952100518230452</c:v>
                      </c:pt>
                      <c:pt idx="410">
                        <c:v>0.31195173807212395</c:v>
                      </c:pt>
                      <c:pt idx="411">
                        <c:v>0.30979108475469297</c:v>
                      </c:pt>
                      <c:pt idx="412">
                        <c:v>0.31829883274571702</c:v>
                      </c:pt>
                      <c:pt idx="413">
                        <c:v>0.3223500968886277</c:v>
                      </c:pt>
                      <c:pt idx="414">
                        <c:v>0.33261338493061898</c:v>
                      </c:pt>
                      <c:pt idx="415">
                        <c:v>0.35030409413825003</c:v>
                      </c:pt>
                      <c:pt idx="416">
                        <c:v>0.35557082022702691</c:v>
                      </c:pt>
                      <c:pt idx="417">
                        <c:v>0.34895360126808872</c:v>
                      </c:pt>
                      <c:pt idx="418">
                        <c:v>0.35921697984797696</c:v>
                      </c:pt>
                      <c:pt idx="419">
                        <c:v>0.3675897564438404</c:v>
                      </c:pt>
                      <c:pt idx="420">
                        <c:v>0.36948031252314828</c:v>
                      </c:pt>
                      <c:pt idx="421">
                        <c:v>0.37285635538958051</c:v>
                      </c:pt>
                      <c:pt idx="422">
                        <c:v>0.37285635538958051</c:v>
                      </c:pt>
                      <c:pt idx="423">
                        <c:v>0.36731948842265871</c:v>
                      </c:pt>
                      <c:pt idx="424">
                        <c:v>0.36569894136498027</c:v>
                      </c:pt>
                      <c:pt idx="425">
                        <c:v>0.35219450052308088</c:v>
                      </c:pt>
                      <c:pt idx="426">
                        <c:v>0.35030386217244947</c:v>
                      </c:pt>
                      <c:pt idx="427">
                        <c:v>0.35030386217244947</c:v>
                      </c:pt>
                      <c:pt idx="428">
                        <c:v>0.35732611740767717</c:v>
                      </c:pt>
                      <c:pt idx="429">
                        <c:v>0.35935179090529656</c:v>
                      </c:pt>
                      <c:pt idx="430">
                        <c:v>0.35570560159655118</c:v>
                      </c:pt>
                      <c:pt idx="431">
                        <c:v>0.3515191826988211</c:v>
                      </c:pt>
                      <c:pt idx="432">
                        <c:v>0.3515191826988211</c:v>
                      </c:pt>
                      <c:pt idx="433">
                        <c:v>0.35016874473146853</c:v>
                      </c:pt>
                      <c:pt idx="434">
                        <c:v>0.34476698961754693</c:v>
                      </c:pt>
                      <c:pt idx="435">
                        <c:v>0.34233618880711414</c:v>
                      </c:pt>
                      <c:pt idx="436">
                        <c:v>0.34692764974092904</c:v>
                      </c:pt>
                      <c:pt idx="437">
                        <c:v>0.36272778453621513</c:v>
                      </c:pt>
                      <c:pt idx="438">
                        <c:v>0.36272778453621513</c:v>
                      </c:pt>
                      <c:pt idx="439">
                        <c:v>0.37663728330575452</c:v>
                      </c:pt>
                      <c:pt idx="440">
                        <c:v>0.38055354104930283</c:v>
                      </c:pt>
                      <c:pt idx="441">
                        <c:v>0.38055354104930283</c:v>
                      </c:pt>
                      <c:pt idx="442">
                        <c:v>0.3827142453963992</c:v>
                      </c:pt>
                      <c:pt idx="443">
                        <c:v>0.38203906603037208</c:v>
                      </c:pt>
                      <c:pt idx="444">
                        <c:v>0.38095872609245607</c:v>
                      </c:pt>
                      <c:pt idx="445">
                        <c:v>0.37339631991662858</c:v>
                      </c:pt>
                      <c:pt idx="446">
                        <c:v>0.37339631991662858</c:v>
                      </c:pt>
                      <c:pt idx="447">
                        <c:v>0.36988523222476188</c:v>
                      </c:pt>
                      <c:pt idx="448">
                        <c:v>0.35665090798476173</c:v>
                      </c:pt>
                      <c:pt idx="449">
                        <c:v>0.34139089157647673</c:v>
                      </c:pt>
                      <c:pt idx="450">
                        <c:v>0.3397703572403632</c:v>
                      </c:pt>
                      <c:pt idx="451">
                        <c:v>0.3397703572403632</c:v>
                      </c:pt>
                      <c:pt idx="452">
                        <c:v>0.32261982292029368</c:v>
                      </c:pt>
                      <c:pt idx="453">
                        <c:v>0.32802153453908245</c:v>
                      </c:pt>
                      <c:pt idx="454">
                        <c:v>0.31870347144198896</c:v>
                      </c:pt>
                      <c:pt idx="455">
                        <c:v>0.31991892043161685</c:v>
                      </c:pt>
                      <c:pt idx="456">
                        <c:v>0.31991892043161685</c:v>
                      </c:pt>
                      <c:pt idx="457">
                        <c:v>0.31370685402449738</c:v>
                      </c:pt>
                      <c:pt idx="458">
                        <c:v>0.30492905893796185</c:v>
                      </c:pt>
                      <c:pt idx="459">
                        <c:v>0.30789999092644571</c:v>
                      </c:pt>
                      <c:pt idx="460">
                        <c:v>0.31330174867897109</c:v>
                      </c:pt>
                      <c:pt idx="461">
                        <c:v>0.31330174867897109</c:v>
                      </c:pt>
                      <c:pt idx="462">
                        <c:v>0.31046580488287367</c:v>
                      </c:pt>
                      <c:pt idx="463">
                        <c:v>0.31006060885600384</c:v>
                      </c:pt>
                      <c:pt idx="464">
                        <c:v>0.32356497562421338</c:v>
                      </c:pt>
                      <c:pt idx="465">
                        <c:v>0.33058728195888532</c:v>
                      </c:pt>
                      <c:pt idx="466">
                        <c:v>0.33058728195888532</c:v>
                      </c:pt>
                      <c:pt idx="467">
                        <c:v>0.32437530217433208</c:v>
                      </c:pt>
                      <c:pt idx="468">
                        <c:v>0.33261291655385627</c:v>
                      </c:pt>
                      <c:pt idx="469">
                        <c:v>0.33693431371965721</c:v>
                      </c:pt>
                      <c:pt idx="470">
                        <c:v>0.33639419225691447</c:v>
                      </c:pt>
                      <c:pt idx="471">
                        <c:v>0.33639419225691447</c:v>
                      </c:pt>
                      <c:pt idx="472">
                        <c:v>0.33288308379559783</c:v>
                      </c:pt>
                      <c:pt idx="473">
                        <c:v>0.33274806273920943</c:v>
                      </c:pt>
                      <c:pt idx="474">
                        <c:v>0.3361241801317405</c:v>
                      </c:pt>
                      <c:pt idx="475">
                        <c:v>0.33436864657146548</c:v>
                      </c:pt>
                      <c:pt idx="476">
                        <c:v>0.33436864657146548</c:v>
                      </c:pt>
                      <c:pt idx="477">
                        <c:v>0.33342337982223413</c:v>
                      </c:pt>
                      <c:pt idx="478">
                        <c:v>0.33504388925573192</c:v>
                      </c:pt>
                      <c:pt idx="479">
                        <c:v>0.34125584847243884</c:v>
                      </c:pt>
                      <c:pt idx="480">
                        <c:v>0.35070888556688784</c:v>
                      </c:pt>
                      <c:pt idx="481">
                        <c:v>0.3604320985505296</c:v>
                      </c:pt>
                      <c:pt idx="482">
                        <c:v>0.36664410359893096</c:v>
                      </c:pt>
                      <c:pt idx="483">
                        <c:v>0.36704917691123784</c:v>
                      </c:pt>
                      <c:pt idx="484">
                        <c:v>0.36029704761663783</c:v>
                      </c:pt>
                      <c:pt idx="485">
                        <c:v>0.36029704761663783</c:v>
                      </c:pt>
                      <c:pt idx="486">
                        <c:v>0.3574611003317667</c:v>
                      </c:pt>
                      <c:pt idx="487">
                        <c:v>0.36205257675752889</c:v>
                      </c:pt>
                      <c:pt idx="488">
                        <c:v>0.36718424604572042</c:v>
                      </c:pt>
                      <c:pt idx="489">
                        <c:v>0.37069544862641512</c:v>
                      </c:pt>
                      <c:pt idx="490">
                        <c:v>0.37069544862641512</c:v>
                      </c:pt>
                      <c:pt idx="491">
                        <c:v>0.37191084428071197</c:v>
                      </c:pt>
                      <c:pt idx="492">
                        <c:v>0.37285609085242122</c:v>
                      </c:pt>
                      <c:pt idx="493">
                        <c:v>0.38068864670756164</c:v>
                      </c:pt>
                      <c:pt idx="494">
                        <c:v>0.38541515815183547</c:v>
                      </c:pt>
                      <c:pt idx="495">
                        <c:v>0.38541515815183547</c:v>
                      </c:pt>
                      <c:pt idx="496">
                        <c:v>0.38230919590877477</c:v>
                      </c:pt>
                      <c:pt idx="497">
                        <c:v>0.3816339378665734</c:v>
                      </c:pt>
                      <c:pt idx="498">
                        <c:v>0.38649549320374454</c:v>
                      </c:pt>
                      <c:pt idx="499">
                        <c:v>0.38906134176346741</c:v>
                      </c:pt>
                      <c:pt idx="500">
                        <c:v>0.38906134176346741</c:v>
                      </c:pt>
                      <c:pt idx="501">
                        <c:v>0.39554339651480652</c:v>
                      </c:pt>
                      <c:pt idx="502">
                        <c:v>0.40054000009168811</c:v>
                      </c:pt>
                      <c:pt idx="503">
                        <c:v>0.40054000009168811</c:v>
                      </c:pt>
                      <c:pt idx="504">
                        <c:v>0.40054000009168811</c:v>
                      </c:pt>
                      <c:pt idx="505">
                        <c:v>0.40054000009168811</c:v>
                      </c:pt>
                      <c:pt idx="506">
                        <c:v>0.40054000009168811</c:v>
                      </c:pt>
                      <c:pt idx="507">
                        <c:v>0.40054000009168811</c:v>
                      </c:pt>
                      <c:pt idx="508">
                        <c:v>0.40054000009168811</c:v>
                      </c:pt>
                    </c:numCache>
                  </c:numRef>
                </c:val>
                <c:smooth val="0"/>
                <c:extLst xmlns:c15="http://schemas.microsoft.com/office/drawing/2012/chart">
                  <c:ext xmlns:c16="http://schemas.microsoft.com/office/drawing/2014/chart" uri="{C3380CC4-5D6E-409C-BE32-E72D297353CC}">
                    <c16:uniqueId val="{0000000A-FEDF-4824-BFB3-214DAB16BA7B}"/>
                  </c:ext>
                </c:extLst>
              </c15:ser>
            </c15:filteredLineSeries>
          </c:ext>
        </c:extLst>
      </c:lineChart>
      <c:catAx>
        <c:axId val="342982127"/>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Trading day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42981647"/>
        <c:crosses val="autoZero"/>
        <c:auto val="1"/>
        <c:lblAlgn val="ctr"/>
        <c:lblOffset val="100"/>
        <c:tickLblSkip val="100"/>
        <c:noMultiLvlLbl val="0"/>
      </c:catAx>
      <c:valAx>
        <c:axId val="342981647"/>
        <c:scaling>
          <c:orientation val="minMax"/>
          <c:min val="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42982127"/>
        <c:crosses val="autoZero"/>
        <c:crossBetween val="between"/>
      </c:valAx>
      <c:spPr>
        <a:noFill/>
        <a:ln>
          <a:noFill/>
        </a:ln>
        <a:effectLst/>
      </c:spPr>
    </c:plotArea>
    <c:legend>
      <c:legendPos val="b"/>
      <c:layout>
        <c:manualLayout>
          <c:xMode val="edge"/>
          <c:yMode val="edge"/>
          <c:x val="9.4888685438067513E-2"/>
          <c:y val="8.8894222215051361E-2"/>
          <c:w val="0.89259244729640108"/>
          <c:h val="0.10809529017206182"/>
        </c:manualLayout>
      </c:layout>
      <c:overlay val="1"/>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975</cdr:x>
      <cdr:y>0.09777</cdr:y>
    </cdr:from>
    <cdr:to>
      <cdr:x>0.68046</cdr:x>
      <cdr:y>0.39117</cdr:y>
    </cdr:to>
    <cdr:sp macro="" textlink="">
      <cdr:nvSpPr>
        <cdr:cNvPr id="2" name="TextBox 1">
          <a:extLst xmlns:a="http://schemas.openxmlformats.org/drawingml/2006/main">
            <a:ext uri="{FF2B5EF4-FFF2-40B4-BE49-F238E27FC236}">
              <a16:creationId xmlns:a16="http://schemas.microsoft.com/office/drawing/2014/main" id="{80831335-33BD-33B0-93AB-F15E127EBF8E}"/>
            </a:ext>
          </a:extLst>
        </cdr:cNvPr>
        <cdr:cNvSpPr txBox="1"/>
      </cdr:nvSpPr>
      <cdr:spPr>
        <a:xfrm xmlns:a="http://schemas.openxmlformats.org/drawingml/2006/main">
          <a:off x="4170712" y="391775"/>
          <a:ext cx="2968904" cy="117565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marL="171450" indent="-171450">
            <a:buFontTx/>
            <a:buChar char="-"/>
          </a:pPr>
          <a:r>
            <a:rPr lang="en-US" sz="1100" dirty="0"/>
            <a:t>Highes</a:t>
          </a:r>
          <a:r>
            <a:rPr lang="en-US" dirty="0"/>
            <a:t>t and lowest return within range</a:t>
          </a:r>
        </a:p>
        <a:p xmlns:a="http://schemas.openxmlformats.org/drawingml/2006/main">
          <a:pPr marL="171450" indent="-171450">
            <a:buFontTx/>
            <a:buChar char="-"/>
          </a:pPr>
          <a:r>
            <a:rPr lang="en-US" dirty="0"/>
            <a:t>Average when recession</a:t>
          </a:r>
        </a:p>
        <a:p xmlns:a="http://schemas.openxmlformats.org/drawingml/2006/main">
          <a:pPr marL="171450" indent="-171450">
            <a:buFontTx/>
            <a:buChar char="-"/>
          </a:pPr>
          <a:r>
            <a:rPr lang="en-US" sz="1100" dirty="0"/>
            <a:t>Average when no recession</a:t>
          </a:r>
        </a:p>
      </cdr:txBody>
    </cdr:sp>
  </cdr:relSizeAnchor>
  <cdr:relSizeAnchor xmlns:cdr="http://schemas.openxmlformats.org/drawingml/2006/chartDrawing">
    <cdr:from>
      <cdr:x>0.40196</cdr:x>
      <cdr:y>0.16141</cdr:y>
    </cdr:from>
    <cdr:to>
      <cdr:x>0.41263</cdr:x>
      <cdr:y>0.18797</cdr:y>
    </cdr:to>
    <cdr:sp macro="" textlink="">
      <cdr:nvSpPr>
        <cdr:cNvPr id="3" name="Oval 2">
          <a:extLst xmlns:a="http://schemas.openxmlformats.org/drawingml/2006/main">
            <a:ext uri="{FF2B5EF4-FFF2-40B4-BE49-F238E27FC236}">
              <a16:creationId xmlns:a16="http://schemas.microsoft.com/office/drawing/2014/main" id="{6E1E3699-1656-C01F-7DFC-C3D321D87371}"/>
            </a:ext>
          </a:extLst>
        </cdr:cNvPr>
        <cdr:cNvSpPr/>
      </cdr:nvSpPr>
      <cdr:spPr>
        <a:xfrm xmlns:a="http://schemas.openxmlformats.org/drawingml/2006/main">
          <a:off x="4217482" y="646783"/>
          <a:ext cx="111966" cy="106413"/>
        </a:xfrm>
        <a:prstGeom xmlns:a="http://schemas.openxmlformats.org/drawingml/2006/main" prst="ellipse">
          <a:avLst/>
        </a:prstGeom>
        <a:solidFill xmlns:a="http://schemas.openxmlformats.org/drawingml/2006/main">
          <a:schemeClr val="accent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a:p>
      </cdr:txBody>
    </cdr:sp>
  </cdr:relSizeAnchor>
  <cdr:relSizeAnchor xmlns:cdr="http://schemas.openxmlformats.org/drawingml/2006/chartDrawing">
    <cdr:from>
      <cdr:x>0.40316</cdr:x>
      <cdr:y>0.20693</cdr:y>
    </cdr:from>
    <cdr:to>
      <cdr:x>0.41383</cdr:x>
      <cdr:y>0.23348</cdr:y>
    </cdr:to>
    <cdr:sp macro="" textlink="">
      <cdr:nvSpPr>
        <cdr:cNvPr id="4" name="Oval 3">
          <a:extLst xmlns:a="http://schemas.openxmlformats.org/drawingml/2006/main">
            <a:ext uri="{FF2B5EF4-FFF2-40B4-BE49-F238E27FC236}">
              <a16:creationId xmlns:a16="http://schemas.microsoft.com/office/drawing/2014/main" id="{545B139F-352E-F2F7-C3F9-1D1D1CA80344}"/>
            </a:ext>
          </a:extLst>
        </cdr:cNvPr>
        <cdr:cNvSpPr/>
      </cdr:nvSpPr>
      <cdr:spPr>
        <a:xfrm xmlns:a="http://schemas.openxmlformats.org/drawingml/2006/main">
          <a:off x="4230019" y="829153"/>
          <a:ext cx="111966" cy="106413"/>
        </a:xfrm>
        <a:prstGeom xmlns:a="http://schemas.openxmlformats.org/drawingml/2006/main" prst="ellipse">
          <a:avLst/>
        </a:prstGeom>
        <a:solidFill xmlns:a="http://schemas.openxmlformats.org/drawingml/2006/main">
          <a:schemeClr val="accent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dr:relSizeAnchor xmlns:cdr="http://schemas.openxmlformats.org/drawingml/2006/chartDrawing">
    <cdr:from>
      <cdr:x>0.4027</cdr:x>
      <cdr:y>0.12755</cdr:y>
    </cdr:from>
    <cdr:to>
      <cdr:x>0.41276</cdr:x>
      <cdr:y>0.13896</cdr:y>
    </cdr:to>
    <cdr:sp macro="" textlink="">
      <cdr:nvSpPr>
        <cdr:cNvPr id="5" name="Rectangle 4">
          <a:extLst xmlns:a="http://schemas.openxmlformats.org/drawingml/2006/main">
            <a:ext uri="{FF2B5EF4-FFF2-40B4-BE49-F238E27FC236}">
              <a16:creationId xmlns:a16="http://schemas.microsoft.com/office/drawing/2014/main" id="{E3AFF2E0-19F0-96F3-13ED-6CB58AC9B7FE}"/>
            </a:ext>
          </a:extLst>
        </cdr:cNvPr>
        <cdr:cNvSpPr/>
      </cdr:nvSpPr>
      <cdr:spPr>
        <a:xfrm xmlns:a="http://schemas.openxmlformats.org/drawingml/2006/main">
          <a:off x="4225257" y="511106"/>
          <a:ext cx="105560" cy="45719"/>
        </a:xfrm>
        <a:prstGeom xmlns:a="http://schemas.openxmlformats.org/drawingml/2006/main" prst="rect">
          <a:avLst/>
        </a:prstGeom>
        <a:solidFill xmlns:a="http://schemas.openxmlformats.org/drawingml/2006/main">
          <a:schemeClr val="tx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0718644-737D-43E6-AB63-4A0D72D612B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55DD514-52B2-4A20-B455-6C93CA0B03C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B98BE9-1DF9-4F13-8080-3D34EC7F0DCC}" type="datetimeFigureOut">
              <a:rPr lang="en-US" smtClean="0"/>
              <a:t>11/18/24</a:t>
            </a:fld>
            <a:endParaRPr lang="en-US"/>
          </a:p>
        </p:txBody>
      </p:sp>
      <p:sp>
        <p:nvSpPr>
          <p:cNvPr id="4" name="Footer Placeholder 3">
            <a:extLst>
              <a:ext uri="{FF2B5EF4-FFF2-40B4-BE49-F238E27FC236}">
                <a16:creationId xmlns:a16="http://schemas.microsoft.com/office/drawing/2014/main" id="{A0DCCAA0-9260-4B93-879D-E3DA39A7AFE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F221F7F6-A6FF-4ADE-AF5F-BC6F8B9A4AC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B2F9B1C-8D71-413B-8AE0-A66A1D16BA7B}" type="slidenum">
              <a:rPr lang="en-US" smtClean="0"/>
              <a:t>‹#›</a:t>
            </a:fld>
            <a:endParaRPr lang="en-US"/>
          </a:p>
        </p:txBody>
      </p:sp>
      <p:pic>
        <p:nvPicPr>
          <p:cNvPr id="6" name="Picture 5">
            <a:extLst>
              <a:ext uri="{FF2B5EF4-FFF2-40B4-BE49-F238E27FC236}">
                <a16:creationId xmlns:a16="http://schemas.microsoft.com/office/drawing/2014/main" id="{A1B363D0-BAE8-4E30-968C-B30621B7FD5D}"/>
              </a:ext>
            </a:extLst>
          </p:cNvPr>
          <p:cNvPicPr>
            <a:picLocks noChangeAspect="1"/>
          </p:cNvPicPr>
          <p:nvPr/>
        </p:nvPicPr>
        <p:blipFill>
          <a:blip r:embed="rId2"/>
          <a:stretch>
            <a:fillRect/>
          </a:stretch>
        </p:blipFill>
        <p:spPr>
          <a:xfrm>
            <a:off x="3137638" y="63868"/>
            <a:ext cx="728379" cy="789839"/>
          </a:xfrm>
          <a:prstGeom prst="rect">
            <a:avLst/>
          </a:prstGeom>
        </p:spPr>
      </p:pic>
    </p:spTree>
    <p:extLst>
      <p:ext uri="{BB962C8B-B14F-4D97-AF65-F5344CB8AC3E}">
        <p14:creationId xmlns:p14="http://schemas.microsoft.com/office/powerpoint/2010/main" val="33282795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77368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idx="1"/>
          </p:nvPr>
        </p:nvSpPr>
        <p:spPr>
          <a:xfrm>
            <a:off x="4084320" y="0"/>
            <a:ext cx="2773680" cy="457200"/>
          </a:xfrm>
          <a:prstGeom prst="rect">
            <a:avLst/>
          </a:prstGeom>
        </p:spPr>
        <p:txBody>
          <a:bodyPr vert="horz" lIns="91440" tIns="45720" rIns="91440" bIns="45720" rtlCol="0"/>
          <a:lstStyle>
            <a:lvl1pPr algn="r">
              <a:defRPr sz="1200"/>
            </a:lvl1pPr>
          </a:lstStyle>
          <a:p>
            <a:fld id="{22DAF281-D5C0-44A6-919B-4BDDA8A72803}" type="datetimeFigureOut">
              <a:rPr lang="en-CA" smtClean="0"/>
              <a:t>2024-11-18</a:t>
            </a:fld>
            <a:endParaRPr lang="en-CA" dirty="0"/>
          </a:p>
        </p:txBody>
      </p:sp>
      <p:sp>
        <p:nvSpPr>
          <p:cNvPr id="4" name="Slide Image Placeholder 3"/>
          <p:cNvSpPr>
            <a:spLocks noGrp="1" noRot="1" noChangeAspect="1"/>
          </p:cNvSpPr>
          <p:nvPr>
            <p:ph type="sldImg" idx="2"/>
          </p:nvPr>
        </p:nvSpPr>
        <p:spPr>
          <a:xfrm>
            <a:off x="685800" y="1143000"/>
            <a:ext cx="5486400" cy="3087338"/>
          </a:xfrm>
          <a:prstGeom prst="rect">
            <a:avLst/>
          </a:prstGeom>
          <a:noFill/>
          <a:ln w="12700">
            <a:solidFill>
              <a:prstClr val="black"/>
            </a:solidFill>
          </a:ln>
        </p:spPr>
        <p:txBody>
          <a:bodyPr vert="horz" lIns="91440" tIns="45720" rIns="91440" bIns="45720" rtlCol="0" anchor="ctr"/>
          <a:lstStyle/>
          <a:p>
            <a:endParaRPr lang="en-CA" dirty="0"/>
          </a:p>
        </p:txBody>
      </p:sp>
      <p:sp>
        <p:nvSpPr>
          <p:cNvPr id="5" name="Notes Placeholder 4"/>
          <p:cNvSpPr>
            <a:spLocks noGrp="1"/>
          </p:cNvSpPr>
          <p:nvPr>
            <p:ph type="body" sz="quarter" idx="3"/>
          </p:nvPr>
        </p:nvSpPr>
        <p:spPr>
          <a:xfrm>
            <a:off x="685800" y="4398264"/>
            <a:ext cx="5486400" cy="3602736"/>
          </a:xfrm>
          <a:prstGeom prst="rect">
            <a:avLst/>
          </a:prstGeom>
        </p:spPr>
        <p:txBody>
          <a:bodyPr vert="horz" lIns="91440" tIns="45720" rIns="91440" bIns="45720" rtlCol="0"/>
          <a:lstStyle/>
          <a:p>
            <a:pPr lvl="0"/>
            <a:r>
              <a:rPr lang="en-CA"/>
              <a:t>Edit Master text styles</a:t>
            </a:r>
          </a:p>
          <a:p>
            <a:pPr lvl="1"/>
            <a:r>
              <a:rPr lang="en-CA"/>
              <a:t>Second level</a:t>
            </a:r>
          </a:p>
          <a:p>
            <a:pPr lvl="2"/>
            <a:r>
              <a:rPr lang="en-CA"/>
              <a:t>Third level</a:t>
            </a:r>
          </a:p>
          <a:p>
            <a:pPr lvl="3"/>
            <a:r>
              <a:rPr lang="en-CA"/>
              <a:t>Fourth level</a:t>
            </a:r>
          </a:p>
          <a:p>
            <a:pPr lvl="4"/>
            <a:r>
              <a:rPr lang="en-CA"/>
              <a:t>Fifth level</a:t>
            </a:r>
          </a:p>
        </p:txBody>
      </p:sp>
      <p:sp>
        <p:nvSpPr>
          <p:cNvPr id="6" name="Footer Placeholder 5"/>
          <p:cNvSpPr>
            <a:spLocks noGrp="1"/>
          </p:cNvSpPr>
          <p:nvPr>
            <p:ph type="ftr" sz="quarter" idx="4"/>
          </p:nvPr>
        </p:nvSpPr>
        <p:spPr>
          <a:xfrm>
            <a:off x="0" y="8676683"/>
            <a:ext cx="2773680" cy="457200"/>
          </a:xfrm>
          <a:prstGeom prst="rect">
            <a:avLst/>
          </a:prstGeom>
        </p:spPr>
        <p:txBody>
          <a:bodyPr vert="horz" lIns="91440" tIns="45720" rIns="91440" bIns="45720" rtlCol="0" anchor="b"/>
          <a:lstStyle>
            <a:lvl1pPr algn="l">
              <a:defRPr sz="1200"/>
            </a:lvl1pPr>
          </a:lstStyle>
          <a:p>
            <a:endParaRPr lang="en-CA" dirty="0"/>
          </a:p>
        </p:txBody>
      </p:sp>
      <p:sp>
        <p:nvSpPr>
          <p:cNvPr id="7" name="Slide Number Placeholder 6"/>
          <p:cNvSpPr>
            <a:spLocks noGrp="1"/>
          </p:cNvSpPr>
          <p:nvPr>
            <p:ph type="sldNum" sz="quarter" idx="5"/>
          </p:nvPr>
        </p:nvSpPr>
        <p:spPr>
          <a:xfrm>
            <a:off x="4084320" y="8676683"/>
            <a:ext cx="2773680" cy="457200"/>
          </a:xfrm>
          <a:prstGeom prst="rect">
            <a:avLst/>
          </a:prstGeom>
        </p:spPr>
        <p:txBody>
          <a:bodyPr vert="horz" lIns="91440" tIns="45720" rIns="91440" bIns="45720" rtlCol="0" anchor="b"/>
          <a:lstStyle>
            <a:lvl1pPr algn="r">
              <a:defRPr sz="1200"/>
            </a:lvl1pPr>
          </a:lstStyle>
          <a:p>
            <a:fld id="{1FF71800-7E42-4FD9-88C0-C7DD9972A17A}" type="slidenum">
              <a:rPr lang="en-CA" smtClean="0"/>
              <a:t>‹#›</a:t>
            </a:fld>
            <a:endParaRPr lang="en-CA" dirty="0"/>
          </a:p>
        </p:txBody>
      </p:sp>
      <p:pic>
        <p:nvPicPr>
          <p:cNvPr id="8" name="Picture 7">
            <a:extLst>
              <a:ext uri="{FF2B5EF4-FFF2-40B4-BE49-F238E27FC236}">
                <a16:creationId xmlns:a16="http://schemas.microsoft.com/office/drawing/2014/main" id="{8E12A3C9-2089-46C7-97D9-9199F279E422}"/>
              </a:ext>
            </a:extLst>
          </p:cNvPr>
          <p:cNvPicPr>
            <a:picLocks noChangeAspect="1"/>
          </p:cNvPicPr>
          <p:nvPr/>
        </p:nvPicPr>
        <p:blipFill>
          <a:blip r:embed="rId2"/>
          <a:stretch>
            <a:fillRect/>
          </a:stretch>
        </p:blipFill>
        <p:spPr>
          <a:xfrm>
            <a:off x="3137638" y="63868"/>
            <a:ext cx="728379" cy="789839"/>
          </a:xfrm>
          <a:prstGeom prst="rect">
            <a:avLst/>
          </a:prstGeom>
        </p:spPr>
      </p:pic>
    </p:spTree>
    <p:extLst>
      <p:ext uri="{BB962C8B-B14F-4D97-AF65-F5344CB8AC3E}">
        <p14:creationId xmlns:p14="http://schemas.microsoft.com/office/powerpoint/2010/main" val="25569504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76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F71800-7E42-4FD9-88C0-C7DD9972A17A}" type="slidenum">
              <a:rPr lang="en-CA" smtClean="0"/>
              <a:t>1</a:t>
            </a:fld>
            <a:endParaRPr lang="en-CA" dirty="0"/>
          </a:p>
        </p:txBody>
      </p:sp>
    </p:spTree>
    <p:extLst>
      <p:ext uri="{BB962C8B-B14F-4D97-AF65-F5344CB8AC3E}">
        <p14:creationId xmlns:p14="http://schemas.microsoft.com/office/powerpoint/2010/main" val="6536590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76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F71800-7E42-4FD9-88C0-C7DD9972A17A}" type="slidenum">
              <a:rPr lang="en-CA" smtClean="0"/>
              <a:t>2</a:t>
            </a:fld>
            <a:endParaRPr lang="en-CA" dirty="0"/>
          </a:p>
        </p:txBody>
      </p:sp>
    </p:spTree>
    <p:extLst>
      <p:ext uri="{BB962C8B-B14F-4D97-AF65-F5344CB8AC3E}">
        <p14:creationId xmlns:p14="http://schemas.microsoft.com/office/powerpoint/2010/main" val="14565027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76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F71800-7E42-4FD9-88C0-C7DD9972A17A}" type="slidenum">
              <a:rPr lang="en-CA" smtClean="0"/>
              <a:t>3</a:t>
            </a:fld>
            <a:endParaRPr lang="en-CA" dirty="0"/>
          </a:p>
        </p:txBody>
      </p:sp>
    </p:spTree>
    <p:extLst>
      <p:ext uri="{BB962C8B-B14F-4D97-AF65-F5344CB8AC3E}">
        <p14:creationId xmlns:p14="http://schemas.microsoft.com/office/powerpoint/2010/main" val="34701266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76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F71800-7E42-4FD9-88C0-C7DD9972A17A}" type="slidenum">
              <a:rPr lang="en-CA" smtClean="0"/>
              <a:t>4</a:t>
            </a:fld>
            <a:endParaRPr lang="en-CA" dirty="0"/>
          </a:p>
        </p:txBody>
      </p:sp>
    </p:spTree>
    <p:extLst>
      <p:ext uri="{BB962C8B-B14F-4D97-AF65-F5344CB8AC3E}">
        <p14:creationId xmlns:p14="http://schemas.microsoft.com/office/powerpoint/2010/main" val="15371406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76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F71800-7E42-4FD9-88C0-C7DD9972A17A}" type="slidenum">
              <a:rPr lang="en-CA" smtClean="0"/>
              <a:t>5</a:t>
            </a:fld>
            <a:endParaRPr lang="en-CA" dirty="0"/>
          </a:p>
        </p:txBody>
      </p:sp>
    </p:spTree>
    <p:extLst>
      <p:ext uri="{BB962C8B-B14F-4D97-AF65-F5344CB8AC3E}">
        <p14:creationId xmlns:p14="http://schemas.microsoft.com/office/powerpoint/2010/main" val="24853548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76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F71800-7E42-4FD9-88C0-C7DD9972A17A}" type="slidenum">
              <a:rPr lang="en-CA" smtClean="0"/>
              <a:t>6</a:t>
            </a:fld>
            <a:endParaRPr lang="en-CA" dirty="0"/>
          </a:p>
        </p:txBody>
      </p:sp>
    </p:spTree>
    <p:extLst>
      <p:ext uri="{BB962C8B-B14F-4D97-AF65-F5344CB8AC3E}">
        <p14:creationId xmlns:p14="http://schemas.microsoft.com/office/powerpoint/2010/main" val="3163879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76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F71800-7E42-4FD9-88C0-C7DD9972A17A}" type="slidenum">
              <a:rPr lang="en-CA" smtClean="0"/>
              <a:t>7</a:t>
            </a:fld>
            <a:endParaRPr lang="en-CA" dirty="0"/>
          </a:p>
        </p:txBody>
      </p:sp>
    </p:spTree>
    <p:extLst>
      <p:ext uri="{BB962C8B-B14F-4D97-AF65-F5344CB8AC3E}">
        <p14:creationId xmlns:p14="http://schemas.microsoft.com/office/powerpoint/2010/main" val="18983963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76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F71800-7E42-4FD9-88C0-C7DD9972A17A}" type="slidenum">
              <a:rPr lang="en-CA" smtClean="0"/>
              <a:t>8</a:t>
            </a:fld>
            <a:endParaRPr lang="en-CA" dirty="0"/>
          </a:p>
        </p:txBody>
      </p:sp>
    </p:spTree>
    <p:extLst>
      <p:ext uri="{BB962C8B-B14F-4D97-AF65-F5344CB8AC3E}">
        <p14:creationId xmlns:p14="http://schemas.microsoft.com/office/powerpoint/2010/main" val="39789944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8A9B61C-7922-477A-9898-94F3BA2D8CBB}"/>
              </a:ext>
            </a:extLst>
          </p:cNvPr>
          <p:cNvPicPr>
            <a:picLocks/>
          </p:cNvPicPr>
          <p:nvPr userDrawn="1"/>
        </p:nvPicPr>
        <p:blipFill>
          <a:blip r:embed="rId2"/>
          <a:stretch>
            <a:fillRect/>
          </a:stretch>
        </p:blipFill>
        <p:spPr>
          <a:xfrm>
            <a:off x="-18288" y="0"/>
            <a:ext cx="12243816" cy="6912864"/>
          </a:xfrm>
          <a:prstGeom prst="rect">
            <a:avLst/>
          </a:prstGeom>
        </p:spPr>
      </p:pic>
      <p:pic>
        <p:nvPicPr>
          <p:cNvPr id="12" name="Picture 11">
            <a:extLst>
              <a:ext uri="{FF2B5EF4-FFF2-40B4-BE49-F238E27FC236}">
                <a16:creationId xmlns:a16="http://schemas.microsoft.com/office/drawing/2014/main" id="{1D2515B1-09C0-4CB7-BDBF-77B6E70A19BC}"/>
              </a:ext>
            </a:extLst>
          </p:cNvPr>
          <p:cNvPicPr>
            <a:picLocks noChangeAspect="1"/>
          </p:cNvPicPr>
          <p:nvPr userDrawn="1"/>
        </p:nvPicPr>
        <p:blipFill>
          <a:blip r:embed="rId3"/>
          <a:stretch>
            <a:fillRect/>
          </a:stretch>
        </p:blipFill>
        <p:spPr>
          <a:xfrm>
            <a:off x="11283696" y="5797296"/>
            <a:ext cx="728379" cy="789839"/>
          </a:xfrm>
          <a:prstGeom prst="rect">
            <a:avLst/>
          </a:prstGeom>
        </p:spPr>
      </p:pic>
      <p:sp>
        <p:nvSpPr>
          <p:cNvPr id="4" name="Date Placeholder 3">
            <a:extLst>
              <a:ext uri="{FF2B5EF4-FFF2-40B4-BE49-F238E27FC236}">
                <a16:creationId xmlns:a16="http://schemas.microsoft.com/office/drawing/2014/main" id="{6C6A5474-121E-451F-8F0B-03523EA414EC}"/>
              </a:ext>
            </a:extLst>
          </p:cNvPr>
          <p:cNvSpPr>
            <a:spLocks noGrp="1"/>
          </p:cNvSpPr>
          <p:nvPr>
            <p:ph type="dt" sz="half" idx="10"/>
          </p:nvPr>
        </p:nvSpPr>
        <p:spPr>
          <a:xfrm>
            <a:off x="448056" y="6409944"/>
            <a:ext cx="3657600" cy="182880"/>
          </a:xfrm>
          <a:prstGeom prst="rect">
            <a:avLst/>
          </a:prstGeom>
        </p:spPr>
        <p:txBody>
          <a:bodyPr lIns="0" tIns="0" rIns="0" bIns="0"/>
          <a:lstStyle>
            <a:lvl1pPr>
              <a:defRPr sz="1200">
                <a:solidFill>
                  <a:schemeClr val="tx1"/>
                </a:solidFill>
              </a:defRPr>
            </a:lvl1pPr>
          </a:lstStyle>
          <a:p>
            <a:fld id="{BA3C95CC-CD7F-EF41-9083-A720D579D4EB}" type="datetime4">
              <a:rPr lang="en-US" smtClean="0"/>
              <a:pPr/>
              <a:t>November 18, 2024</a:t>
            </a:fld>
            <a:endParaRPr lang="en-CA" dirty="0"/>
          </a:p>
        </p:txBody>
      </p:sp>
      <p:sp>
        <p:nvSpPr>
          <p:cNvPr id="13" name="Text Placeholder 12">
            <a:extLst>
              <a:ext uri="{FF2B5EF4-FFF2-40B4-BE49-F238E27FC236}">
                <a16:creationId xmlns:a16="http://schemas.microsoft.com/office/drawing/2014/main" id="{3A43A11F-E99C-49FB-8576-8507FC873D1B}"/>
              </a:ext>
            </a:extLst>
          </p:cNvPr>
          <p:cNvSpPr>
            <a:spLocks noGrp="1"/>
          </p:cNvSpPr>
          <p:nvPr>
            <p:ph type="body" sz="quarter" idx="14" hasCustomPrompt="1"/>
          </p:nvPr>
        </p:nvSpPr>
        <p:spPr>
          <a:xfrm>
            <a:off x="441242" y="6153912"/>
            <a:ext cx="5654675" cy="255587"/>
          </a:xfrm>
        </p:spPr>
        <p:txBody>
          <a:bodyPr>
            <a:normAutofit/>
          </a:bodyPr>
          <a:lstStyle>
            <a:lvl1pPr>
              <a:defRPr sz="1500" b="0">
                <a:solidFill>
                  <a:schemeClr val="tx1"/>
                </a:solidFill>
              </a:defRPr>
            </a:lvl1pPr>
          </a:lstStyle>
          <a:p>
            <a:pPr lvl="0"/>
            <a:r>
              <a:rPr lang="en-CA" noProof="0" dirty="0"/>
              <a:t>Presenter Name</a:t>
            </a:r>
          </a:p>
        </p:txBody>
      </p:sp>
      <p:sp>
        <p:nvSpPr>
          <p:cNvPr id="3" name="Subtitle 2">
            <a:extLst>
              <a:ext uri="{FF2B5EF4-FFF2-40B4-BE49-F238E27FC236}">
                <a16:creationId xmlns:a16="http://schemas.microsoft.com/office/drawing/2014/main" id="{52D4339A-75B0-40F3-B53E-EA57D3E1B46C}"/>
              </a:ext>
            </a:extLst>
          </p:cNvPr>
          <p:cNvSpPr>
            <a:spLocks noGrp="1"/>
          </p:cNvSpPr>
          <p:nvPr>
            <p:ph type="subTitle" idx="1"/>
          </p:nvPr>
        </p:nvSpPr>
        <p:spPr>
          <a:xfrm>
            <a:off x="441242" y="2658693"/>
            <a:ext cx="7438734" cy="770307"/>
          </a:xfrm>
        </p:spPr>
        <p:txBody>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CA" noProof="0" dirty="0"/>
          </a:p>
        </p:txBody>
      </p:sp>
      <p:sp>
        <p:nvSpPr>
          <p:cNvPr id="2" name="Title 1">
            <a:extLst>
              <a:ext uri="{FF2B5EF4-FFF2-40B4-BE49-F238E27FC236}">
                <a16:creationId xmlns:a16="http://schemas.microsoft.com/office/drawing/2014/main" id="{885D8042-2A28-4C49-8368-0CD7FDB3F173}"/>
              </a:ext>
            </a:extLst>
          </p:cNvPr>
          <p:cNvSpPr>
            <a:spLocks noGrp="1"/>
          </p:cNvSpPr>
          <p:nvPr>
            <p:ph type="ctrTitle"/>
          </p:nvPr>
        </p:nvSpPr>
        <p:spPr>
          <a:xfrm>
            <a:off x="441242" y="1070457"/>
            <a:ext cx="10455357" cy="1081072"/>
          </a:xfrm>
        </p:spPr>
        <p:txBody>
          <a:bodyPr anchor="t" anchorCtr="0">
            <a:normAutofit/>
          </a:bodyPr>
          <a:lstStyle>
            <a:lvl1pPr algn="l">
              <a:defRPr sz="3800">
                <a:solidFill>
                  <a:schemeClr val="tx2"/>
                </a:solidFill>
              </a:defRPr>
            </a:lvl1pPr>
          </a:lstStyle>
          <a:p>
            <a:r>
              <a:rPr lang="en-US" noProof="0"/>
              <a:t>Click to edit Master title style</a:t>
            </a:r>
            <a:endParaRPr lang="en-CA" noProof="0" dirty="0"/>
          </a:p>
        </p:txBody>
      </p:sp>
      <p:pic>
        <p:nvPicPr>
          <p:cNvPr id="10" name="Picture 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27707" y="416404"/>
            <a:ext cx="3129934" cy="228479"/>
          </a:xfrm>
          <a:prstGeom prst="rect">
            <a:avLst/>
          </a:prstGeom>
        </p:spPr>
      </p:pic>
      <p:sp>
        <p:nvSpPr>
          <p:cNvPr id="14" name="Date Placeholder 2">
            <a:extLst>
              <a:ext uri="{FF2B5EF4-FFF2-40B4-BE49-F238E27FC236}">
                <a16:creationId xmlns:a16="http://schemas.microsoft.com/office/drawing/2014/main" id="{05AF1435-DAFD-43AB-98A5-C92AA7D5CB02}"/>
              </a:ext>
            </a:extLst>
          </p:cNvPr>
          <p:cNvSpPr txBox="1">
            <a:spLocks/>
          </p:cNvSpPr>
          <p:nvPr userDrawn="1"/>
        </p:nvSpPr>
        <p:spPr>
          <a:xfrm>
            <a:off x="7956275" y="6404293"/>
            <a:ext cx="2940325" cy="194578"/>
          </a:xfrm>
          <a:prstGeom prst="rect">
            <a:avLst/>
          </a:prstGeom>
        </p:spPr>
        <p:txBody>
          <a:bodyPr vert="horz" lIns="0" tIns="0" rIns="0" bIns="0" rtlCol="0" anchor="ctr"/>
          <a:lstStyle>
            <a:defPPr>
              <a:defRPr lang="en-CA"/>
            </a:defPPr>
            <a:lvl1pPr marL="0" algn="l" defTabSz="914400" rtl="0" eaLnBrk="1" latinLnBrk="0" hangingPunct="1">
              <a:defRPr sz="1000" kern="1200">
                <a:solidFill>
                  <a:schemeClr val="bg1"/>
                </a:solidFill>
                <a:effectLst>
                  <a:outerShdw blurRad="38100" dist="38100" dir="2700000" algn="tl">
                    <a:srgbClr val="000000">
                      <a:alpha val="43137"/>
                    </a:srgbClr>
                  </a:outerShdw>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CA" i="1">
                <a:solidFill>
                  <a:schemeClr val="tx1"/>
                </a:solidFill>
                <a:effectLst/>
              </a:rPr>
              <a:t>Réservé aux professionnels des placements</a:t>
            </a:r>
          </a:p>
        </p:txBody>
      </p:sp>
    </p:spTree>
    <p:extLst>
      <p:ext uri="{BB962C8B-B14F-4D97-AF65-F5344CB8AC3E}">
        <p14:creationId xmlns:p14="http://schemas.microsoft.com/office/powerpoint/2010/main" val="12646872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6D700B0B-943A-4C8C-924F-3A6D26991E03}"/>
              </a:ext>
            </a:extLst>
          </p:cNvPr>
          <p:cNvSpPr>
            <a:spLocks noGrp="1"/>
          </p:cNvSpPr>
          <p:nvPr>
            <p:ph type="sldNum" sz="quarter" idx="12"/>
          </p:nvPr>
        </p:nvSpPr>
        <p:spPr/>
        <p:txBody>
          <a:bodyPr/>
          <a:lstStyle/>
          <a:p>
            <a:fld id="{00D53123-EF31-4C08-A865-932FC064F9C8}" type="slidenum">
              <a:rPr lang="en-CA" smtClean="0"/>
              <a:t>‹#›</a:t>
            </a:fld>
            <a:endParaRPr lang="en-CA" dirty="0"/>
          </a:p>
        </p:txBody>
      </p:sp>
      <p:sp>
        <p:nvSpPr>
          <p:cNvPr id="4" name="Content Placeholder 3">
            <a:extLst>
              <a:ext uri="{FF2B5EF4-FFF2-40B4-BE49-F238E27FC236}">
                <a16:creationId xmlns:a16="http://schemas.microsoft.com/office/drawing/2014/main" id="{4189D61D-B2CB-4351-B2CE-BEC948C2206F}"/>
              </a:ext>
            </a:extLst>
          </p:cNvPr>
          <p:cNvSpPr>
            <a:spLocks noGrp="1"/>
          </p:cNvSpPr>
          <p:nvPr>
            <p:ph sz="half" idx="2"/>
          </p:nvPr>
        </p:nvSpPr>
        <p:spPr>
          <a:xfrm>
            <a:off x="5912491" y="1409700"/>
            <a:ext cx="4983480"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3" name="Content Placeholder 2">
            <a:extLst>
              <a:ext uri="{FF2B5EF4-FFF2-40B4-BE49-F238E27FC236}">
                <a16:creationId xmlns:a16="http://schemas.microsoft.com/office/drawing/2014/main" id="{C2A4F0DE-4595-46BE-9D30-0A5CE9DEA5F3}"/>
              </a:ext>
            </a:extLst>
          </p:cNvPr>
          <p:cNvSpPr>
            <a:spLocks noGrp="1"/>
          </p:cNvSpPr>
          <p:nvPr>
            <p:ph sz="half" idx="1"/>
          </p:nvPr>
        </p:nvSpPr>
        <p:spPr>
          <a:xfrm>
            <a:off x="685800" y="1409700"/>
            <a:ext cx="4983480"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2" name="Title 1">
            <a:extLst>
              <a:ext uri="{FF2B5EF4-FFF2-40B4-BE49-F238E27FC236}">
                <a16:creationId xmlns:a16="http://schemas.microsoft.com/office/drawing/2014/main" id="{63496AF6-6143-470F-B5DE-71E5730DB232}"/>
              </a:ext>
            </a:extLst>
          </p:cNvPr>
          <p:cNvSpPr>
            <a:spLocks noGrp="1"/>
          </p:cNvSpPr>
          <p:nvPr>
            <p:ph type="title"/>
          </p:nvPr>
        </p:nvSpPr>
        <p:spPr/>
        <p:txBody>
          <a:bodyPr/>
          <a:lstStyle/>
          <a:p>
            <a:r>
              <a:rPr lang="en-US"/>
              <a:t>Click to edit Master title style</a:t>
            </a:r>
            <a:endParaRPr lang="en-CA" dirty="0"/>
          </a:p>
        </p:txBody>
      </p:sp>
      <p:sp>
        <p:nvSpPr>
          <p:cNvPr id="8" name="Text Placeholder 3"/>
          <p:cNvSpPr>
            <a:spLocks noGrp="1"/>
          </p:cNvSpPr>
          <p:nvPr>
            <p:ph type="body" sz="quarter" idx="13" hasCustomPrompt="1"/>
          </p:nvPr>
        </p:nvSpPr>
        <p:spPr>
          <a:xfrm>
            <a:off x="685800" y="5943600"/>
            <a:ext cx="10210800" cy="381000"/>
          </a:xfrm>
        </p:spPr>
        <p:txBody>
          <a:bodyPr anchor="b">
            <a:normAutofit/>
          </a:bodyPr>
          <a:lstStyle>
            <a:lvl1pPr>
              <a:defRPr sz="1000">
                <a:solidFill>
                  <a:schemeClr val="tx1">
                    <a:lumMod val="50000"/>
                    <a:lumOff val="50000"/>
                  </a:schemeClr>
                </a:solidFill>
                <a:latin typeface="Arial Narrow" panose="020B0606020202030204" pitchFamily="34" charset="0"/>
              </a:defRPr>
            </a:lvl1pPr>
          </a:lstStyle>
          <a:p>
            <a:pPr lvl="0"/>
            <a:r>
              <a:rPr lang="en-US" dirty="0"/>
              <a:t>Click to add disclosure</a:t>
            </a:r>
          </a:p>
        </p:txBody>
      </p:sp>
    </p:spTree>
    <p:extLst>
      <p:ext uri="{BB962C8B-B14F-4D97-AF65-F5344CB8AC3E}">
        <p14:creationId xmlns:p14="http://schemas.microsoft.com/office/powerpoint/2010/main" val="34227889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6D700B0B-943A-4C8C-924F-3A6D26991E03}"/>
              </a:ext>
            </a:extLst>
          </p:cNvPr>
          <p:cNvSpPr>
            <a:spLocks noGrp="1"/>
          </p:cNvSpPr>
          <p:nvPr>
            <p:ph type="sldNum" sz="quarter" idx="12"/>
          </p:nvPr>
        </p:nvSpPr>
        <p:spPr/>
        <p:txBody>
          <a:bodyPr/>
          <a:lstStyle/>
          <a:p>
            <a:fld id="{00D53123-EF31-4C08-A865-932FC064F9C8}" type="slidenum">
              <a:rPr lang="en-CA" smtClean="0"/>
              <a:t>‹#›</a:t>
            </a:fld>
            <a:endParaRPr lang="en-CA" dirty="0"/>
          </a:p>
        </p:txBody>
      </p:sp>
      <p:sp>
        <p:nvSpPr>
          <p:cNvPr id="4" name="Content Placeholder 3">
            <a:extLst>
              <a:ext uri="{FF2B5EF4-FFF2-40B4-BE49-F238E27FC236}">
                <a16:creationId xmlns:a16="http://schemas.microsoft.com/office/drawing/2014/main" id="{4189D61D-B2CB-4351-B2CE-BEC948C2206F}"/>
              </a:ext>
            </a:extLst>
          </p:cNvPr>
          <p:cNvSpPr>
            <a:spLocks noGrp="1"/>
          </p:cNvSpPr>
          <p:nvPr>
            <p:ph sz="half" idx="2"/>
          </p:nvPr>
        </p:nvSpPr>
        <p:spPr>
          <a:xfrm>
            <a:off x="5912491" y="1409700"/>
            <a:ext cx="4983480"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3" name="Content Placeholder 2">
            <a:extLst>
              <a:ext uri="{FF2B5EF4-FFF2-40B4-BE49-F238E27FC236}">
                <a16:creationId xmlns:a16="http://schemas.microsoft.com/office/drawing/2014/main" id="{C2A4F0DE-4595-46BE-9D30-0A5CE9DEA5F3}"/>
              </a:ext>
            </a:extLst>
          </p:cNvPr>
          <p:cNvSpPr>
            <a:spLocks noGrp="1"/>
          </p:cNvSpPr>
          <p:nvPr>
            <p:ph sz="half" idx="1"/>
          </p:nvPr>
        </p:nvSpPr>
        <p:spPr>
          <a:xfrm>
            <a:off x="685800" y="1409700"/>
            <a:ext cx="4983480"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8" name="Text Placeholder 8">
            <a:extLst>
              <a:ext uri="{FF2B5EF4-FFF2-40B4-BE49-F238E27FC236}">
                <a16:creationId xmlns:a16="http://schemas.microsoft.com/office/drawing/2014/main" id="{5E5BAACF-42E7-4313-8482-1BE8FBA28CCE}"/>
              </a:ext>
            </a:extLst>
          </p:cNvPr>
          <p:cNvSpPr>
            <a:spLocks noGrp="1"/>
          </p:cNvSpPr>
          <p:nvPr>
            <p:ph type="body" sz="quarter" idx="14"/>
          </p:nvPr>
        </p:nvSpPr>
        <p:spPr>
          <a:xfrm>
            <a:off x="685800" y="776606"/>
            <a:ext cx="10210800" cy="414019"/>
          </a:xfrm>
        </p:spPr>
        <p:txBody>
          <a:bodyPr anchor="ctr" anchorCtr="0"/>
          <a:lstStyle/>
          <a:p>
            <a:pPr lvl="0"/>
            <a:r>
              <a:rPr lang="en-US"/>
              <a:t>Click to edit Master text styles</a:t>
            </a:r>
          </a:p>
        </p:txBody>
      </p:sp>
      <p:sp>
        <p:nvSpPr>
          <p:cNvPr id="9" name="Title 1">
            <a:extLst>
              <a:ext uri="{FF2B5EF4-FFF2-40B4-BE49-F238E27FC236}">
                <a16:creationId xmlns:a16="http://schemas.microsoft.com/office/drawing/2014/main" id="{D089F7DF-4377-47A2-B733-FBEECC7CECFC}"/>
              </a:ext>
            </a:extLst>
          </p:cNvPr>
          <p:cNvSpPr>
            <a:spLocks noGrp="1"/>
          </p:cNvSpPr>
          <p:nvPr>
            <p:ph type="title"/>
          </p:nvPr>
        </p:nvSpPr>
        <p:spPr>
          <a:xfrm>
            <a:off x="685800" y="365126"/>
            <a:ext cx="10210800" cy="411480"/>
          </a:xfrm>
        </p:spPr>
        <p:txBody>
          <a:bodyPr/>
          <a:lstStyle/>
          <a:p>
            <a:r>
              <a:rPr lang="en-US"/>
              <a:t>Click to edit Master title style</a:t>
            </a:r>
            <a:endParaRPr lang="en-CA" dirty="0"/>
          </a:p>
        </p:txBody>
      </p:sp>
      <p:sp>
        <p:nvSpPr>
          <p:cNvPr id="11" name="Text Placeholder 3"/>
          <p:cNvSpPr>
            <a:spLocks noGrp="1"/>
          </p:cNvSpPr>
          <p:nvPr>
            <p:ph type="body" sz="quarter" idx="13" hasCustomPrompt="1"/>
          </p:nvPr>
        </p:nvSpPr>
        <p:spPr>
          <a:xfrm>
            <a:off x="685800" y="5943600"/>
            <a:ext cx="10210800" cy="381000"/>
          </a:xfrm>
        </p:spPr>
        <p:txBody>
          <a:bodyPr anchor="b">
            <a:normAutofit/>
          </a:bodyPr>
          <a:lstStyle>
            <a:lvl1pPr>
              <a:defRPr sz="1000">
                <a:solidFill>
                  <a:schemeClr val="tx1">
                    <a:lumMod val="50000"/>
                    <a:lumOff val="50000"/>
                  </a:schemeClr>
                </a:solidFill>
                <a:latin typeface="Arial Narrow" panose="020B0606020202030204" pitchFamily="34" charset="0"/>
              </a:defRPr>
            </a:lvl1pPr>
          </a:lstStyle>
          <a:p>
            <a:pPr lvl="0"/>
            <a:r>
              <a:rPr lang="en-US" dirty="0"/>
              <a:t>Click to add disclosur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E24EA7B4-4D5B-4374-8ADF-8CE8C85C5583}"/>
              </a:ext>
            </a:extLst>
          </p:cNvPr>
          <p:cNvSpPr>
            <a:spLocks noGrp="1"/>
          </p:cNvSpPr>
          <p:nvPr>
            <p:ph type="sldNum" sz="quarter" idx="12"/>
          </p:nvPr>
        </p:nvSpPr>
        <p:spPr/>
        <p:txBody>
          <a:bodyPr/>
          <a:lstStyle/>
          <a:p>
            <a:fld id="{00D53123-EF31-4C08-A865-932FC064F9C8}" type="slidenum">
              <a:rPr lang="en-CA" smtClean="0"/>
              <a:t>‹#›</a:t>
            </a:fld>
            <a:endParaRPr lang="en-CA" dirty="0"/>
          </a:p>
        </p:txBody>
      </p:sp>
      <p:sp>
        <p:nvSpPr>
          <p:cNvPr id="6" name="Content Placeholder 5">
            <a:extLst>
              <a:ext uri="{FF2B5EF4-FFF2-40B4-BE49-F238E27FC236}">
                <a16:creationId xmlns:a16="http://schemas.microsoft.com/office/drawing/2014/main" id="{CD4FE6BD-C2F4-4037-8365-E720049DBE67}"/>
              </a:ext>
            </a:extLst>
          </p:cNvPr>
          <p:cNvSpPr>
            <a:spLocks noGrp="1"/>
          </p:cNvSpPr>
          <p:nvPr>
            <p:ph sz="quarter" idx="4"/>
          </p:nvPr>
        </p:nvSpPr>
        <p:spPr>
          <a:xfrm>
            <a:off x="5913120" y="2261235"/>
            <a:ext cx="498348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4" name="Content Placeholder 3">
            <a:extLst>
              <a:ext uri="{FF2B5EF4-FFF2-40B4-BE49-F238E27FC236}">
                <a16:creationId xmlns:a16="http://schemas.microsoft.com/office/drawing/2014/main" id="{CE54A603-8F7B-4BCB-BC2F-DB5A0E87DAA2}"/>
              </a:ext>
            </a:extLst>
          </p:cNvPr>
          <p:cNvSpPr>
            <a:spLocks noGrp="1"/>
          </p:cNvSpPr>
          <p:nvPr>
            <p:ph sz="half" idx="2"/>
          </p:nvPr>
        </p:nvSpPr>
        <p:spPr>
          <a:xfrm>
            <a:off x="685800" y="2261235"/>
            <a:ext cx="498348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5" name="Text Placeholder 4">
            <a:extLst>
              <a:ext uri="{FF2B5EF4-FFF2-40B4-BE49-F238E27FC236}">
                <a16:creationId xmlns:a16="http://schemas.microsoft.com/office/drawing/2014/main" id="{A343060D-AFB6-433C-BE73-1F04E14AC8FD}"/>
              </a:ext>
            </a:extLst>
          </p:cNvPr>
          <p:cNvSpPr>
            <a:spLocks noGrp="1"/>
          </p:cNvSpPr>
          <p:nvPr>
            <p:ph type="body" sz="quarter" idx="3"/>
          </p:nvPr>
        </p:nvSpPr>
        <p:spPr>
          <a:xfrm>
            <a:off x="5913120" y="1414463"/>
            <a:ext cx="4983480" cy="6675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 name="Text Placeholder 2">
            <a:extLst>
              <a:ext uri="{FF2B5EF4-FFF2-40B4-BE49-F238E27FC236}">
                <a16:creationId xmlns:a16="http://schemas.microsoft.com/office/drawing/2014/main" id="{5EF44CBC-F441-4476-A4E1-60F7D36AB932}"/>
              </a:ext>
            </a:extLst>
          </p:cNvPr>
          <p:cNvSpPr>
            <a:spLocks noGrp="1"/>
          </p:cNvSpPr>
          <p:nvPr>
            <p:ph type="body" idx="1"/>
          </p:nvPr>
        </p:nvSpPr>
        <p:spPr>
          <a:xfrm>
            <a:off x="685800" y="1414463"/>
            <a:ext cx="4983480" cy="66427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a:extLst>
              <a:ext uri="{FF2B5EF4-FFF2-40B4-BE49-F238E27FC236}">
                <a16:creationId xmlns:a16="http://schemas.microsoft.com/office/drawing/2014/main" id="{652ECCA9-C2A0-494B-B4A6-01B3147F6D95}"/>
              </a:ext>
            </a:extLst>
          </p:cNvPr>
          <p:cNvSpPr>
            <a:spLocks noGrp="1"/>
          </p:cNvSpPr>
          <p:nvPr>
            <p:ph type="title"/>
          </p:nvPr>
        </p:nvSpPr>
        <p:spPr>
          <a:xfrm>
            <a:off x="685800" y="365760"/>
            <a:ext cx="10213848" cy="795528"/>
          </a:xfrm>
        </p:spPr>
        <p:txBody>
          <a:bodyPr/>
          <a:lstStyle/>
          <a:p>
            <a:r>
              <a:rPr lang="en-US"/>
              <a:t>Click to edit Master title style</a:t>
            </a:r>
            <a:endParaRPr lang="en-CA" dirty="0"/>
          </a:p>
        </p:txBody>
      </p:sp>
      <p:sp>
        <p:nvSpPr>
          <p:cNvPr id="10" name="Text Placeholder 3"/>
          <p:cNvSpPr>
            <a:spLocks noGrp="1"/>
          </p:cNvSpPr>
          <p:nvPr>
            <p:ph type="body" sz="quarter" idx="13" hasCustomPrompt="1"/>
          </p:nvPr>
        </p:nvSpPr>
        <p:spPr>
          <a:xfrm>
            <a:off x="685800" y="5943600"/>
            <a:ext cx="10210800" cy="381000"/>
          </a:xfrm>
        </p:spPr>
        <p:txBody>
          <a:bodyPr anchor="b">
            <a:normAutofit/>
          </a:bodyPr>
          <a:lstStyle>
            <a:lvl1pPr>
              <a:defRPr sz="1000">
                <a:solidFill>
                  <a:schemeClr val="tx1">
                    <a:lumMod val="50000"/>
                    <a:lumOff val="50000"/>
                  </a:schemeClr>
                </a:solidFill>
                <a:latin typeface="Arial Narrow" panose="020B0606020202030204" pitchFamily="34" charset="0"/>
              </a:defRPr>
            </a:lvl1pPr>
          </a:lstStyle>
          <a:p>
            <a:pPr lvl="0"/>
            <a:r>
              <a:rPr lang="en-US" dirty="0"/>
              <a:t>Click to add disclosure</a:t>
            </a:r>
          </a:p>
        </p:txBody>
      </p:sp>
    </p:spTree>
    <p:extLst>
      <p:ext uri="{BB962C8B-B14F-4D97-AF65-F5344CB8AC3E}">
        <p14:creationId xmlns:p14="http://schemas.microsoft.com/office/powerpoint/2010/main" val="27117183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parison with subtitle">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E24EA7B4-4D5B-4374-8ADF-8CE8C85C5583}"/>
              </a:ext>
            </a:extLst>
          </p:cNvPr>
          <p:cNvSpPr>
            <a:spLocks noGrp="1"/>
          </p:cNvSpPr>
          <p:nvPr>
            <p:ph type="sldNum" sz="quarter" idx="12"/>
          </p:nvPr>
        </p:nvSpPr>
        <p:spPr/>
        <p:txBody>
          <a:bodyPr/>
          <a:lstStyle/>
          <a:p>
            <a:fld id="{00D53123-EF31-4C08-A865-932FC064F9C8}" type="slidenum">
              <a:rPr lang="en-CA" smtClean="0"/>
              <a:t>‹#›</a:t>
            </a:fld>
            <a:endParaRPr lang="en-CA" dirty="0"/>
          </a:p>
        </p:txBody>
      </p:sp>
      <p:sp>
        <p:nvSpPr>
          <p:cNvPr id="6" name="Content Placeholder 5">
            <a:extLst>
              <a:ext uri="{FF2B5EF4-FFF2-40B4-BE49-F238E27FC236}">
                <a16:creationId xmlns:a16="http://schemas.microsoft.com/office/drawing/2014/main" id="{CD4FE6BD-C2F4-4037-8365-E720049DBE67}"/>
              </a:ext>
            </a:extLst>
          </p:cNvPr>
          <p:cNvSpPr>
            <a:spLocks noGrp="1"/>
          </p:cNvSpPr>
          <p:nvPr>
            <p:ph sz="quarter" idx="4"/>
          </p:nvPr>
        </p:nvSpPr>
        <p:spPr>
          <a:xfrm>
            <a:off x="5913120" y="2261235"/>
            <a:ext cx="498348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4" name="Content Placeholder 3">
            <a:extLst>
              <a:ext uri="{FF2B5EF4-FFF2-40B4-BE49-F238E27FC236}">
                <a16:creationId xmlns:a16="http://schemas.microsoft.com/office/drawing/2014/main" id="{CE54A603-8F7B-4BCB-BC2F-DB5A0E87DAA2}"/>
              </a:ext>
            </a:extLst>
          </p:cNvPr>
          <p:cNvSpPr>
            <a:spLocks noGrp="1"/>
          </p:cNvSpPr>
          <p:nvPr>
            <p:ph sz="half" idx="2"/>
          </p:nvPr>
        </p:nvSpPr>
        <p:spPr>
          <a:xfrm>
            <a:off x="685800" y="2261235"/>
            <a:ext cx="498348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5" name="Text Placeholder 4">
            <a:extLst>
              <a:ext uri="{FF2B5EF4-FFF2-40B4-BE49-F238E27FC236}">
                <a16:creationId xmlns:a16="http://schemas.microsoft.com/office/drawing/2014/main" id="{A343060D-AFB6-433C-BE73-1F04E14AC8FD}"/>
              </a:ext>
            </a:extLst>
          </p:cNvPr>
          <p:cNvSpPr>
            <a:spLocks noGrp="1"/>
          </p:cNvSpPr>
          <p:nvPr>
            <p:ph type="body" sz="quarter" idx="3"/>
          </p:nvPr>
        </p:nvSpPr>
        <p:spPr>
          <a:xfrm>
            <a:off x="5913120" y="1414463"/>
            <a:ext cx="4983480" cy="6675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 name="Text Placeholder 2">
            <a:extLst>
              <a:ext uri="{FF2B5EF4-FFF2-40B4-BE49-F238E27FC236}">
                <a16:creationId xmlns:a16="http://schemas.microsoft.com/office/drawing/2014/main" id="{5EF44CBC-F441-4476-A4E1-60F7D36AB932}"/>
              </a:ext>
            </a:extLst>
          </p:cNvPr>
          <p:cNvSpPr>
            <a:spLocks noGrp="1"/>
          </p:cNvSpPr>
          <p:nvPr>
            <p:ph type="body" idx="1"/>
          </p:nvPr>
        </p:nvSpPr>
        <p:spPr>
          <a:xfrm>
            <a:off x="685800" y="1414463"/>
            <a:ext cx="4983480" cy="66427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8">
            <a:extLst>
              <a:ext uri="{FF2B5EF4-FFF2-40B4-BE49-F238E27FC236}">
                <a16:creationId xmlns:a16="http://schemas.microsoft.com/office/drawing/2014/main" id="{5E5BAACF-42E7-4313-8482-1BE8FBA28CCE}"/>
              </a:ext>
            </a:extLst>
          </p:cNvPr>
          <p:cNvSpPr>
            <a:spLocks noGrp="1"/>
          </p:cNvSpPr>
          <p:nvPr>
            <p:ph type="body" sz="quarter" idx="14"/>
          </p:nvPr>
        </p:nvSpPr>
        <p:spPr>
          <a:xfrm>
            <a:off x="685800" y="776606"/>
            <a:ext cx="10210800" cy="414019"/>
          </a:xfrm>
        </p:spPr>
        <p:txBody>
          <a:bodyPr anchor="ctr" anchorCtr="0"/>
          <a:lstStyle/>
          <a:p>
            <a:pPr lvl="0"/>
            <a:r>
              <a:rPr lang="en-US"/>
              <a:t>Click to edit Master text styles</a:t>
            </a:r>
          </a:p>
        </p:txBody>
      </p:sp>
      <p:sp>
        <p:nvSpPr>
          <p:cNvPr id="11" name="Title 1">
            <a:extLst>
              <a:ext uri="{FF2B5EF4-FFF2-40B4-BE49-F238E27FC236}">
                <a16:creationId xmlns:a16="http://schemas.microsoft.com/office/drawing/2014/main" id="{D089F7DF-4377-47A2-B733-FBEECC7CECFC}"/>
              </a:ext>
            </a:extLst>
          </p:cNvPr>
          <p:cNvSpPr>
            <a:spLocks noGrp="1"/>
          </p:cNvSpPr>
          <p:nvPr>
            <p:ph type="title"/>
          </p:nvPr>
        </p:nvSpPr>
        <p:spPr>
          <a:xfrm>
            <a:off x="685800" y="365126"/>
            <a:ext cx="10210800" cy="411480"/>
          </a:xfrm>
        </p:spPr>
        <p:txBody>
          <a:bodyPr/>
          <a:lstStyle/>
          <a:p>
            <a:r>
              <a:rPr lang="en-US"/>
              <a:t>Click to edit Master title style</a:t>
            </a:r>
            <a:endParaRPr lang="en-CA" dirty="0"/>
          </a:p>
        </p:txBody>
      </p:sp>
      <p:sp>
        <p:nvSpPr>
          <p:cNvPr id="13" name="Text Placeholder 3"/>
          <p:cNvSpPr>
            <a:spLocks noGrp="1"/>
          </p:cNvSpPr>
          <p:nvPr>
            <p:ph type="body" sz="quarter" idx="13" hasCustomPrompt="1"/>
          </p:nvPr>
        </p:nvSpPr>
        <p:spPr>
          <a:xfrm>
            <a:off x="685800" y="5943600"/>
            <a:ext cx="10210800" cy="381000"/>
          </a:xfrm>
        </p:spPr>
        <p:txBody>
          <a:bodyPr anchor="b">
            <a:normAutofit/>
          </a:bodyPr>
          <a:lstStyle>
            <a:lvl1pPr>
              <a:defRPr sz="1000">
                <a:solidFill>
                  <a:schemeClr val="tx1">
                    <a:lumMod val="50000"/>
                    <a:lumOff val="50000"/>
                  </a:schemeClr>
                </a:solidFill>
                <a:latin typeface="Arial Narrow" panose="020B0606020202030204" pitchFamily="34" charset="0"/>
              </a:defRPr>
            </a:lvl1pPr>
          </a:lstStyle>
          <a:p>
            <a:pPr lvl="0"/>
            <a:r>
              <a:rPr lang="en-US" dirty="0"/>
              <a:t>Click to add disclosur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31D2E5A-599D-414F-ABC5-10659C2DC5E3}"/>
              </a:ext>
            </a:extLst>
          </p:cNvPr>
          <p:cNvSpPr>
            <a:spLocks noGrp="1"/>
          </p:cNvSpPr>
          <p:nvPr>
            <p:ph type="sldNum" sz="quarter" idx="12"/>
          </p:nvPr>
        </p:nvSpPr>
        <p:spPr/>
        <p:txBody>
          <a:bodyPr/>
          <a:lstStyle/>
          <a:p>
            <a:fld id="{00D53123-EF31-4C08-A865-932FC064F9C8}" type="slidenum">
              <a:rPr lang="en-CA" smtClean="0"/>
              <a:t>‹#›</a:t>
            </a:fld>
            <a:endParaRPr lang="en-CA" dirty="0"/>
          </a:p>
        </p:txBody>
      </p:sp>
      <p:sp>
        <p:nvSpPr>
          <p:cNvPr id="2" name="Title 1">
            <a:extLst>
              <a:ext uri="{FF2B5EF4-FFF2-40B4-BE49-F238E27FC236}">
                <a16:creationId xmlns:a16="http://schemas.microsoft.com/office/drawing/2014/main" id="{D089F7DF-4377-47A2-B733-FBEECC7CECFC}"/>
              </a:ext>
            </a:extLst>
          </p:cNvPr>
          <p:cNvSpPr>
            <a:spLocks noGrp="1"/>
          </p:cNvSpPr>
          <p:nvPr>
            <p:ph type="title"/>
          </p:nvPr>
        </p:nvSpPr>
        <p:spPr/>
        <p:txBody>
          <a:bodyPr/>
          <a:lstStyle/>
          <a:p>
            <a:r>
              <a:rPr lang="en-US"/>
              <a:t>Click to edit Master title style</a:t>
            </a:r>
            <a:endParaRPr lang="en-CA"/>
          </a:p>
        </p:txBody>
      </p:sp>
    </p:spTree>
    <p:extLst>
      <p:ext uri="{BB962C8B-B14F-4D97-AF65-F5344CB8AC3E}">
        <p14:creationId xmlns:p14="http://schemas.microsoft.com/office/powerpoint/2010/main" val="20326457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31D2E5A-599D-414F-ABC5-10659C2DC5E3}"/>
              </a:ext>
            </a:extLst>
          </p:cNvPr>
          <p:cNvSpPr>
            <a:spLocks noGrp="1"/>
          </p:cNvSpPr>
          <p:nvPr>
            <p:ph type="sldNum" sz="quarter" idx="12"/>
          </p:nvPr>
        </p:nvSpPr>
        <p:spPr/>
        <p:txBody>
          <a:bodyPr/>
          <a:lstStyle/>
          <a:p>
            <a:fld id="{00D53123-EF31-4C08-A865-932FC064F9C8}" type="slidenum">
              <a:rPr lang="en-CA" smtClean="0"/>
              <a:t>‹#›</a:t>
            </a:fld>
            <a:endParaRPr lang="en-CA" dirty="0"/>
          </a:p>
        </p:txBody>
      </p:sp>
      <p:sp>
        <p:nvSpPr>
          <p:cNvPr id="6" name="Text Placeholder 8">
            <a:extLst>
              <a:ext uri="{FF2B5EF4-FFF2-40B4-BE49-F238E27FC236}">
                <a16:creationId xmlns:a16="http://schemas.microsoft.com/office/drawing/2014/main" id="{5E5BAACF-42E7-4313-8482-1BE8FBA28CCE}"/>
              </a:ext>
            </a:extLst>
          </p:cNvPr>
          <p:cNvSpPr>
            <a:spLocks noGrp="1"/>
          </p:cNvSpPr>
          <p:nvPr>
            <p:ph type="body" sz="quarter" idx="14"/>
          </p:nvPr>
        </p:nvSpPr>
        <p:spPr>
          <a:xfrm>
            <a:off x="685800" y="776606"/>
            <a:ext cx="10210800" cy="414019"/>
          </a:xfrm>
        </p:spPr>
        <p:txBody>
          <a:bodyPr anchor="ctr" anchorCtr="0"/>
          <a:lstStyle/>
          <a:p>
            <a:pPr lvl="0"/>
            <a:r>
              <a:rPr lang="en-US"/>
              <a:t>Click to edit Master text styles</a:t>
            </a:r>
          </a:p>
        </p:txBody>
      </p:sp>
      <p:sp>
        <p:nvSpPr>
          <p:cNvPr id="7" name="Title 1">
            <a:extLst>
              <a:ext uri="{FF2B5EF4-FFF2-40B4-BE49-F238E27FC236}">
                <a16:creationId xmlns:a16="http://schemas.microsoft.com/office/drawing/2014/main" id="{D089F7DF-4377-47A2-B733-FBEECC7CECFC}"/>
              </a:ext>
            </a:extLst>
          </p:cNvPr>
          <p:cNvSpPr>
            <a:spLocks noGrp="1"/>
          </p:cNvSpPr>
          <p:nvPr>
            <p:ph type="title"/>
          </p:nvPr>
        </p:nvSpPr>
        <p:spPr>
          <a:xfrm>
            <a:off x="685800" y="365126"/>
            <a:ext cx="10210800" cy="411480"/>
          </a:xfrm>
        </p:spPr>
        <p:txBody>
          <a:bodyPr/>
          <a:lstStyle/>
          <a:p>
            <a:r>
              <a:rPr lang="en-US"/>
              <a:t>Click to edit Master title style</a:t>
            </a:r>
            <a:endParaRPr lang="en-CA"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Slide 2">
    <p:spTree>
      <p:nvGrpSpPr>
        <p:cNvPr id="1" name=""/>
        <p:cNvGrpSpPr/>
        <p:nvPr/>
      </p:nvGrpSpPr>
      <p:grpSpPr>
        <a:xfrm>
          <a:off x="0" y="0"/>
          <a:ext cx="0" cy="0"/>
          <a:chOff x="0" y="0"/>
          <a:chExt cx="0" cy="0"/>
        </a:xfrm>
      </p:grpSpPr>
      <p:pic>
        <p:nvPicPr>
          <p:cNvPr id="11" name="Picture Placeholder 4">
            <a:extLst>
              <a:ext uri="{FF2B5EF4-FFF2-40B4-BE49-F238E27FC236}">
                <a16:creationId xmlns:a16="http://schemas.microsoft.com/office/drawing/2014/main" id="{465A853B-AD60-46E6-B5F6-ECB8473EF816}"/>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a:ext>
            </a:extLst>
          </a:blip>
          <a:srcRect/>
          <a:stretch/>
        </p:blipFill>
        <p:spPr>
          <a:xfrm>
            <a:off x="0" y="0"/>
            <a:ext cx="12198365" cy="6867144"/>
          </a:xfrm>
          <a:prstGeom prst="rect">
            <a:avLst/>
          </a:prstGeom>
        </p:spPr>
      </p:pic>
      <p:pic>
        <p:nvPicPr>
          <p:cNvPr id="15" name="Picture 14">
            <a:extLst>
              <a:ext uri="{FF2B5EF4-FFF2-40B4-BE49-F238E27FC236}">
                <a16:creationId xmlns:a16="http://schemas.microsoft.com/office/drawing/2014/main" id="{68A9B61C-7922-477A-9898-94F3BA2D8CBB}"/>
              </a:ext>
            </a:extLst>
          </p:cNvPr>
          <p:cNvPicPr>
            <a:picLocks/>
          </p:cNvPicPr>
          <p:nvPr userDrawn="1"/>
        </p:nvPicPr>
        <p:blipFill>
          <a:blip r:embed="rId4"/>
          <a:stretch>
            <a:fillRect/>
          </a:stretch>
        </p:blipFill>
        <p:spPr>
          <a:xfrm>
            <a:off x="567" y="0"/>
            <a:ext cx="12243816" cy="6912864"/>
          </a:xfrm>
          <a:prstGeom prst="rect">
            <a:avLst/>
          </a:prstGeom>
        </p:spPr>
      </p:pic>
      <p:pic>
        <p:nvPicPr>
          <p:cNvPr id="12" name="Picture 11">
            <a:extLst>
              <a:ext uri="{FF2B5EF4-FFF2-40B4-BE49-F238E27FC236}">
                <a16:creationId xmlns:a16="http://schemas.microsoft.com/office/drawing/2014/main" id="{1D2515B1-09C0-4CB7-BDBF-77B6E70A19BC}"/>
              </a:ext>
            </a:extLst>
          </p:cNvPr>
          <p:cNvPicPr>
            <a:picLocks noChangeAspect="1"/>
          </p:cNvPicPr>
          <p:nvPr userDrawn="1"/>
        </p:nvPicPr>
        <p:blipFill>
          <a:blip r:embed="rId5"/>
          <a:stretch>
            <a:fillRect/>
          </a:stretch>
        </p:blipFill>
        <p:spPr>
          <a:xfrm>
            <a:off x="11283696" y="5797296"/>
            <a:ext cx="728379" cy="789839"/>
          </a:xfrm>
          <a:prstGeom prst="rect">
            <a:avLst/>
          </a:prstGeom>
        </p:spPr>
      </p:pic>
      <p:sp>
        <p:nvSpPr>
          <p:cNvPr id="3" name="Subtitle 2">
            <a:extLst>
              <a:ext uri="{FF2B5EF4-FFF2-40B4-BE49-F238E27FC236}">
                <a16:creationId xmlns:a16="http://schemas.microsoft.com/office/drawing/2014/main" id="{52D4339A-75B0-40F3-B53E-EA57D3E1B46C}"/>
              </a:ext>
            </a:extLst>
          </p:cNvPr>
          <p:cNvSpPr>
            <a:spLocks noGrp="1"/>
          </p:cNvSpPr>
          <p:nvPr>
            <p:ph type="subTitle" idx="1"/>
          </p:nvPr>
        </p:nvSpPr>
        <p:spPr>
          <a:xfrm>
            <a:off x="441242" y="2232383"/>
            <a:ext cx="7438734" cy="770307"/>
          </a:xfrm>
        </p:spPr>
        <p:txBody>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CA" noProof="0" dirty="0"/>
          </a:p>
        </p:txBody>
      </p:sp>
      <p:sp>
        <p:nvSpPr>
          <p:cNvPr id="2" name="Title 1">
            <a:extLst>
              <a:ext uri="{FF2B5EF4-FFF2-40B4-BE49-F238E27FC236}">
                <a16:creationId xmlns:a16="http://schemas.microsoft.com/office/drawing/2014/main" id="{885D8042-2A28-4C49-8368-0CD7FDB3F173}"/>
              </a:ext>
            </a:extLst>
          </p:cNvPr>
          <p:cNvSpPr>
            <a:spLocks noGrp="1"/>
          </p:cNvSpPr>
          <p:nvPr>
            <p:ph type="ctrTitle"/>
          </p:nvPr>
        </p:nvSpPr>
        <p:spPr>
          <a:xfrm>
            <a:off x="441242" y="1070457"/>
            <a:ext cx="10455357" cy="1081072"/>
          </a:xfrm>
        </p:spPr>
        <p:txBody>
          <a:bodyPr anchor="t" anchorCtr="0">
            <a:normAutofit/>
          </a:bodyPr>
          <a:lstStyle>
            <a:lvl1pPr algn="l">
              <a:defRPr sz="3800">
                <a:solidFill>
                  <a:schemeClr val="tx2"/>
                </a:solidFill>
              </a:defRPr>
            </a:lvl1pPr>
          </a:lstStyle>
          <a:p>
            <a:r>
              <a:rPr lang="en-US" noProof="0"/>
              <a:t>Click to edit Master title style</a:t>
            </a:r>
            <a:endParaRPr lang="en-CA" noProof="0" dirty="0"/>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27707" y="443161"/>
            <a:ext cx="3129934" cy="174964"/>
          </a:xfrm>
          <a:prstGeom prst="rect">
            <a:avLst/>
          </a:prstGeom>
        </p:spPr>
      </p:pic>
      <p:sp>
        <p:nvSpPr>
          <p:cNvPr id="17" name="Text Placeholder 12">
            <a:extLst>
              <a:ext uri="{FF2B5EF4-FFF2-40B4-BE49-F238E27FC236}">
                <a16:creationId xmlns:a16="http://schemas.microsoft.com/office/drawing/2014/main" id="{3A43A11F-E99C-49FB-8576-8507FC873D1B}"/>
              </a:ext>
            </a:extLst>
          </p:cNvPr>
          <p:cNvSpPr>
            <a:spLocks noGrp="1"/>
          </p:cNvSpPr>
          <p:nvPr>
            <p:ph type="body" sz="quarter" idx="14" hasCustomPrompt="1"/>
          </p:nvPr>
        </p:nvSpPr>
        <p:spPr>
          <a:xfrm>
            <a:off x="441242" y="6153912"/>
            <a:ext cx="5654675" cy="255587"/>
          </a:xfrm>
        </p:spPr>
        <p:txBody>
          <a:bodyPr>
            <a:normAutofit/>
          </a:bodyPr>
          <a:lstStyle>
            <a:lvl1pPr>
              <a:defRPr sz="1500" b="0">
                <a:solidFill>
                  <a:schemeClr val="tx1"/>
                </a:solidFill>
              </a:defRPr>
            </a:lvl1pPr>
          </a:lstStyle>
          <a:p>
            <a:pPr lvl="0"/>
            <a:r>
              <a:rPr lang="en-CA" noProof="0" dirty="0"/>
              <a:t>Presenter Name</a:t>
            </a:r>
          </a:p>
        </p:txBody>
      </p:sp>
      <p:sp>
        <p:nvSpPr>
          <p:cNvPr id="13" name="Date Placeholder 3">
            <a:extLst>
              <a:ext uri="{FF2B5EF4-FFF2-40B4-BE49-F238E27FC236}">
                <a16:creationId xmlns:a16="http://schemas.microsoft.com/office/drawing/2014/main" id="{6C6A5474-121E-451F-8F0B-03523EA414EC}"/>
              </a:ext>
            </a:extLst>
          </p:cNvPr>
          <p:cNvSpPr>
            <a:spLocks noGrp="1"/>
          </p:cNvSpPr>
          <p:nvPr>
            <p:ph type="dt" sz="half" idx="10"/>
          </p:nvPr>
        </p:nvSpPr>
        <p:spPr>
          <a:xfrm>
            <a:off x="448056" y="6409944"/>
            <a:ext cx="3657600" cy="182880"/>
          </a:xfrm>
          <a:prstGeom prst="rect">
            <a:avLst/>
          </a:prstGeom>
        </p:spPr>
        <p:txBody>
          <a:bodyPr lIns="0" tIns="0" rIns="0" bIns="0"/>
          <a:lstStyle>
            <a:lvl1pPr>
              <a:defRPr sz="1200">
                <a:solidFill>
                  <a:schemeClr val="tx1"/>
                </a:solidFill>
              </a:defRPr>
            </a:lvl1pPr>
          </a:lstStyle>
          <a:p>
            <a:fld id="{BA3C95CC-CD7F-EF41-9083-A720D579D4EB}" type="datetime4">
              <a:rPr lang="en-US" smtClean="0"/>
              <a:pPr/>
              <a:t>November 18, 2024</a:t>
            </a:fld>
            <a:endParaRPr lang="en-CA"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lide 3">
    <p:bg>
      <p:bgPr>
        <a:solidFill>
          <a:schemeClr val="accent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6C0DA4B8-D4E3-4BD8-8379-3D512CE2A79F}"/>
              </a:ext>
            </a:extLst>
          </p:cNvPr>
          <p:cNvPicPr>
            <a:picLocks noChangeAspect="1"/>
          </p:cNvPicPr>
          <p:nvPr userDrawn="1"/>
        </p:nvPicPr>
        <p:blipFill>
          <a:blip r:embed="rId2"/>
          <a:stretch>
            <a:fillRect/>
          </a:stretch>
        </p:blipFill>
        <p:spPr>
          <a:xfrm>
            <a:off x="11265408" y="5779007"/>
            <a:ext cx="759337" cy="850392"/>
          </a:xfrm>
          <a:prstGeom prst="rect">
            <a:avLst/>
          </a:prstGeom>
        </p:spPr>
      </p:pic>
      <p:sp>
        <p:nvSpPr>
          <p:cNvPr id="13" name="Text Placeholder 12">
            <a:extLst>
              <a:ext uri="{FF2B5EF4-FFF2-40B4-BE49-F238E27FC236}">
                <a16:creationId xmlns:a16="http://schemas.microsoft.com/office/drawing/2014/main" id="{3A43A11F-E99C-49FB-8576-8507FC873D1B}"/>
              </a:ext>
            </a:extLst>
          </p:cNvPr>
          <p:cNvSpPr>
            <a:spLocks noGrp="1"/>
          </p:cNvSpPr>
          <p:nvPr>
            <p:ph type="body" sz="quarter" idx="14" hasCustomPrompt="1"/>
          </p:nvPr>
        </p:nvSpPr>
        <p:spPr>
          <a:xfrm>
            <a:off x="441325" y="6153912"/>
            <a:ext cx="5654675" cy="255587"/>
          </a:xfrm>
        </p:spPr>
        <p:txBody>
          <a:bodyPr>
            <a:normAutofit/>
          </a:bodyPr>
          <a:lstStyle>
            <a:lvl1pPr>
              <a:defRPr sz="1500" b="1">
                <a:solidFill>
                  <a:schemeClr val="bg1"/>
                </a:solidFill>
              </a:defRPr>
            </a:lvl1pPr>
          </a:lstStyle>
          <a:p>
            <a:pPr lvl="0"/>
            <a:r>
              <a:rPr lang="en-CA" dirty="0"/>
              <a:t>Presenter Name</a:t>
            </a:r>
          </a:p>
        </p:txBody>
      </p:sp>
      <p:sp>
        <p:nvSpPr>
          <p:cNvPr id="3" name="Subtitle 2">
            <a:extLst>
              <a:ext uri="{FF2B5EF4-FFF2-40B4-BE49-F238E27FC236}">
                <a16:creationId xmlns:a16="http://schemas.microsoft.com/office/drawing/2014/main" id="{52D4339A-75B0-40F3-B53E-EA57D3E1B46C}"/>
              </a:ext>
            </a:extLst>
          </p:cNvPr>
          <p:cNvSpPr>
            <a:spLocks noGrp="1"/>
          </p:cNvSpPr>
          <p:nvPr>
            <p:ph type="subTitle" idx="1"/>
          </p:nvPr>
        </p:nvSpPr>
        <p:spPr>
          <a:xfrm>
            <a:off x="441242" y="2658693"/>
            <a:ext cx="7438734" cy="770307"/>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dirty="0"/>
          </a:p>
        </p:txBody>
      </p:sp>
      <p:sp>
        <p:nvSpPr>
          <p:cNvPr id="2" name="Title 1">
            <a:extLst>
              <a:ext uri="{FF2B5EF4-FFF2-40B4-BE49-F238E27FC236}">
                <a16:creationId xmlns:a16="http://schemas.microsoft.com/office/drawing/2014/main" id="{885D8042-2A28-4C49-8368-0CD7FDB3F173}"/>
              </a:ext>
            </a:extLst>
          </p:cNvPr>
          <p:cNvSpPr>
            <a:spLocks noGrp="1"/>
          </p:cNvSpPr>
          <p:nvPr>
            <p:ph type="ctrTitle"/>
          </p:nvPr>
        </p:nvSpPr>
        <p:spPr>
          <a:xfrm>
            <a:off x="441242" y="1070457"/>
            <a:ext cx="10455357" cy="1081072"/>
          </a:xfrm>
        </p:spPr>
        <p:txBody>
          <a:bodyPr anchor="t" anchorCtr="0">
            <a:normAutofit/>
          </a:bodyPr>
          <a:lstStyle>
            <a:lvl1pPr algn="l">
              <a:defRPr sz="3800">
                <a:solidFill>
                  <a:schemeClr val="bg1"/>
                </a:solidFill>
              </a:defRPr>
            </a:lvl1pPr>
          </a:lstStyle>
          <a:p>
            <a:r>
              <a:rPr lang="en-US"/>
              <a:t>Click to edit Master title style</a:t>
            </a:r>
            <a:endParaRPr lang="en-CA" dirty="0"/>
          </a:p>
        </p:txBody>
      </p:sp>
      <p:pic>
        <p:nvPicPr>
          <p:cNvPr id="16" name="Picture 1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7707" y="416404"/>
            <a:ext cx="3129933" cy="228479"/>
          </a:xfrm>
          <a:prstGeom prst="rect">
            <a:avLst/>
          </a:prstGeom>
        </p:spPr>
      </p:pic>
      <p:pic>
        <p:nvPicPr>
          <p:cNvPr id="22" name="Picture 21"/>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7432" y="-198884"/>
            <a:ext cx="12346857" cy="5977891"/>
          </a:xfrm>
          <a:prstGeom prst="rect">
            <a:avLst/>
          </a:prstGeom>
        </p:spPr>
      </p:pic>
      <p:sp>
        <p:nvSpPr>
          <p:cNvPr id="23" name="Date Placeholder 2">
            <a:extLst>
              <a:ext uri="{FF2B5EF4-FFF2-40B4-BE49-F238E27FC236}">
                <a16:creationId xmlns:a16="http://schemas.microsoft.com/office/drawing/2014/main" id="{05AF1435-DAFD-43AB-98A5-C92AA7D5CB02}"/>
              </a:ext>
            </a:extLst>
          </p:cNvPr>
          <p:cNvSpPr txBox="1">
            <a:spLocks/>
          </p:cNvSpPr>
          <p:nvPr userDrawn="1"/>
        </p:nvSpPr>
        <p:spPr>
          <a:xfrm>
            <a:off x="7956275" y="6404293"/>
            <a:ext cx="2940325" cy="194578"/>
          </a:xfrm>
          <a:prstGeom prst="rect">
            <a:avLst/>
          </a:prstGeom>
        </p:spPr>
        <p:txBody>
          <a:bodyPr vert="horz" lIns="0" tIns="0" rIns="0" bIns="0" rtlCol="0" anchor="ctr"/>
          <a:lstStyle>
            <a:defPPr>
              <a:defRPr lang="en-CA"/>
            </a:defPPr>
            <a:lvl1pPr marL="0" algn="l" defTabSz="914400" rtl="0" eaLnBrk="1" latinLnBrk="0" hangingPunct="1">
              <a:defRPr sz="1000" kern="1200">
                <a:solidFill>
                  <a:schemeClr val="bg1"/>
                </a:solidFill>
                <a:effectLst>
                  <a:outerShdw blurRad="38100" dist="38100" dir="2700000" algn="tl">
                    <a:srgbClr val="000000">
                      <a:alpha val="43137"/>
                    </a:srgbClr>
                  </a:outerShdw>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CA" i="1">
                <a:solidFill>
                  <a:schemeClr val="bg1"/>
                </a:solidFill>
                <a:effectLst/>
              </a:rPr>
              <a:t>Réservé aux professionnels des placements</a:t>
            </a:r>
          </a:p>
        </p:txBody>
      </p:sp>
      <p:sp>
        <p:nvSpPr>
          <p:cNvPr id="10" name="Date Placeholder 3">
            <a:extLst>
              <a:ext uri="{FF2B5EF4-FFF2-40B4-BE49-F238E27FC236}">
                <a16:creationId xmlns:a16="http://schemas.microsoft.com/office/drawing/2014/main" id="{6C6A5474-121E-451F-8F0B-03523EA414EC}"/>
              </a:ext>
            </a:extLst>
          </p:cNvPr>
          <p:cNvSpPr>
            <a:spLocks noGrp="1"/>
          </p:cNvSpPr>
          <p:nvPr>
            <p:ph type="dt" sz="half" idx="10"/>
          </p:nvPr>
        </p:nvSpPr>
        <p:spPr>
          <a:xfrm>
            <a:off x="448056" y="6409944"/>
            <a:ext cx="3657600" cy="182880"/>
          </a:xfrm>
          <a:prstGeom prst="rect">
            <a:avLst/>
          </a:prstGeom>
        </p:spPr>
        <p:txBody>
          <a:bodyPr lIns="0" tIns="0" rIns="0" bIns="0"/>
          <a:lstStyle>
            <a:lvl1pPr>
              <a:defRPr sz="1200">
                <a:solidFill>
                  <a:schemeClr val="bg1"/>
                </a:solidFill>
              </a:defRPr>
            </a:lvl1pPr>
          </a:lstStyle>
          <a:p>
            <a:fld id="{BA3C95CC-CD7F-EF41-9083-A720D579D4EB}" type="datetime4">
              <a:rPr lang="en-US" smtClean="0"/>
              <a:pPr/>
              <a:t>November 18, 2024</a:t>
            </a:fld>
            <a:endParaRPr lang="en-CA" dirty="0"/>
          </a:p>
        </p:txBody>
      </p:sp>
    </p:spTree>
    <p:extLst>
      <p:ext uri="{BB962C8B-B14F-4D97-AF65-F5344CB8AC3E}">
        <p14:creationId xmlns:p14="http://schemas.microsoft.com/office/powerpoint/2010/main" val="23560021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Slide 4">
    <p:bg>
      <p:bgPr>
        <a:solidFill>
          <a:schemeClr val="bg1"/>
        </a:solidFill>
        <a:effectLst/>
      </p:bgPr>
    </p:bg>
    <p:spTree>
      <p:nvGrpSpPr>
        <p:cNvPr id="1" name=""/>
        <p:cNvGrpSpPr/>
        <p:nvPr/>
      </p:nvGrpSpPr>
      <p:grpSpPr>
        <a:xfrm>
          <a:off x="0" y="0"/>
          <a:ext cx="0" cy="0"/>
          <a:chOff x="0" y="0"/>
          <a:chExt cx="0" cy="0"/>
        </a:xfrm>
      </p:grpSpPr>
      <p:pic>
        <p:nvPicPr>
          <p:cNvPr id="11" name="Picture Placeholder 4">
            <a:extLst>
              <a:ext uri="{FF2B5EF4-FFF2-40B4-BE49-F238E27FC236}">
                <a16:creationId xmlns:a16="http://schemas.microsoft.com/office/drawing/2014/main" id="{465A853B-AD60-46E6-B5F6-ECB8473EF81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432" y="0"/>
            <a:ext cx="12250858" cy="6876288"/>
          </a:xfrm>
          <a:prstGeom prst="rect">
            <a:avLst/>
          </a:prstGeom>
        </p:spPr>
      </p:pic>
      <p:pic>
        <p:nvPicPr>
          <p:cNvPr id="14" name="Picture 13">
            <a:extLst>
              <a:ext uri="{FF2B5EF4-FFF2-40B4-BE49-F238E27FC236}">
                <a16:creationId xmlns:a16="http://schemas.microsoft.com/office/drawing/2014/main" id="{6C0DA4B8-D4E3-4BD8-8379-3D512CE2A79F}"/>
              </a:ext>
            </a:extLst>
          </p:cNvPr>
          <p:cNvPicPr>
            <a:picLocks noChangeAspect="1"/>
          </p:cNvPicPr>
          <p:nvPr userDrawn="1"/>
        </p:nvPicPr>
        <p:blipFill>
          <a:blip r:embed="rId3"/>
          <a:stretch>
            <a:fillRect/>
          </a:stretch>
        </p:blipFill>
        <p:spPr>
          <a:xfrm>
            <a:off x="11265408" y="5779007"/>
            <a:ext cx="759337" cy="850392"/>
          </a:xfrm>
          <a:prstGeom prst="rect">
            <a:avLst/>
          </a:prstGeom>
        </p:spPr>
      </p:pic>
      <p:sp>
        <p:nvSpPr>
          <p:cNvPr id="13" name="Text Placeholder 12">
            <a:extLst>
              <a:ext uri="{FF2B5EF4-FFF2-40B4-BE49-F238E27FC236}">
                <a16:creationId xmlns:a16="http://schemas.microsoft.com/office/drawing/2014/main" id="{3A43A11F-E99C-49FB-8576-8507FC873D1B}"/>
              </a:ext>
            </a:extLst>
          </p:cNvPr>
          <p:cNvSpPr>
            <a:spLocks noGrp="1"/>
          </p:cNvSpPr>
          <p:nvPr>
            <p:ph type="body" sz="quarter" idx="14" hasCustomPrompt="1"/>
          </p:nvPr>
        </p:nvSpPr>
        <p:spPr>
          <a:xfrm>
            <a:off x="441325" y="6153912"/>
            <a:ext cx="5654675" cy="255587"/>
          </a:xfrm>
        </p:spPr>
        <p:txBody>
          <a:bodyPr>
            <a:normAutofit/>
          </a:bodyPr>
          <a:lstStyle>
            <a:lvl1pPr>
              <a:defRPr sz="1500" b="1">
                <a:solidFill>
                  <a:schemeClr val="bg1"/>
                </a:solidFill>
              </a:defRPr>
            </a:lvl1pPr>
          </a:lstStyle>
          <a:p>
            <a:pPr lvl="0"/>
            <a:r>
              <a:rPr lang="en-CA" dirty="0"/>
              <a:t>Presenter Name</a:t>
            </a:r>
          </a:p>
        </p:txBody>
      </p:sp>
      <p:sp>
        <p:nvSpPr>
          <p:cNvPr id="3" name="Subtitle 2">
            <a:extLst>
              <a:ext uri="{FF2B5EF4-FFF2-40B4-BE49-F238E27FC236}">
                <a16:creationId xmlns:a16="http://schemas.microsoft.com/office/drawing/2014/main" id="{52D4339A-75B0-40F3-B53E-EA57D3E1B46C}"/>
              </a:ext>
            </a:extLst>
          </p:cNvPr>
          <p:cNvSpPr>
            <a:spLocks noGrp="1"/>
          </p:cNvSpPr>
          <p:nvPr>
            <p:ph type="subTitle" idx="1"/>
          </p:nvPr>
        </p:nvSpPr>
        <p:spPr>
          <a:xfrm>
            <a:off x="441242" y="2658693"/>
            <a:ext cx="7438734" cy="770307"/>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dirty="0"/>
          </a:p>
        </p:txBody>
      </p:sp>
      <p:sp>
        <p:nvSpPr>
          <p:cNvPr id="2" name="Title 1">
            <a:extLst>
              <a:ext uri="{FF2B5EF4-FFF2-40B4-BE49-F238E27FC236}">
                <a16:creationId xmlns:a16="http://schemas.microsoft.com/office/drawing/2014/main" id="{885D8042-2A28-4C49-8368-0CD7FDB3F173}"/>
              </a:ext>
            </a:extLst>
          </p:cNvPr>
          <p:cNvSpPr>
            <a:spLocks noGrp="1"/>
          </p:cNvSpPr>
          <p:nvPr>
            <p:ph type="ctrTitle"/>
          </p:nvPr>
        </p:nvSpPr>
        <p:spPr>
          <a:xfrm>
            <a:off x="441242" y="1070457"/>
            <a:ext cx="10455357" cy="1081072"/>
          </a:xfrm>
        </p:spPr>
        <p:txBody>
          <a:bodyPr anchor="t" anchorCtr="0">
            <a:normAutofit/>
          </a:bodyPr>
          <a:lstStyle>
            <a:lvl1pPr algn="l">
              <a:defRPr sz="3800">
                <a:solidFill>
                  <a:schemeClr val="bg1"/>
                </a:solidFill>
              </a:defRPr>
            </a:lvl1pPr>
          </a:lstStyle>
          <a:p>
            <a:r>
              <a:rPr lang="en-US"/>
              <a:t>Click to edit Master title style</a:t>
            </a:r>
            <a:endParaRPr lang="en-CA" dirty="0"/>
          </a:p>
        </p:txBody>
      </p:sp>
      <p:pic>
        <p:nvPicPr>
          <p:cNvPr id="16" name="Picture 1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27707" y="416404"/>
            <a:ext cx="3129933" cy="228479"/>
          </a:xfrm>
          <a:prstGeom prst="rect">
            <a:avLst/>
          </a:prstGeom>
        </p:spPr>
      </p:pic>
      <p:pic>
        <p:nvPicPr>
          <p:cNvPr id="22" name="Picture 21"/>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7432" y="-198884"/>
            <a:ext cx="12346857" cy="5977891"/>
          </a:xfrm>
          <a:prstGeom prst="rect">
            <a:avLst/>
          </a:prstGeom>
        </p:spPr>
      </p:pic>
      <p:sp>
        <p:nvSpPr>
          <p:cNvPr id="12" name="Date Placeholder 2">
            <a:extLst>
              <a:ext uri="{FF2B5EF4-FFF2-40B4-BE49-F238E27FC236}">
                <a16:creationId xmlns:a16="http://schemas.microsoft.com/office/drawing/2014/main" id="{05AF1435-DAFD-43AB-98A5-C92AA7D5CB02}"/>
              </a:ext>
            </a:extLst>
          </p:cNvPr>
          <p:cNvSpPr txBox="1">
            <a:spLocks/>
          </p:cNvSpPr>
          <p:nvPr userDrawn="1"/>
        </p:nvSpPr>
        <p:spPr>
          <a:xfrm>
            <a:off x="7956275" y="6404293"/>
            <a:ext cx="2940325" cy="194578"/>
          </a:xfrm>
          <a:prstGeom prst="rect">
            <a:avLst/>
          </a:prstGeom>
        </p:spPr>
        <p:txBody>
          <a:bodyPr vert="horz" lIns="0" tIns="0" rIns="0" bIns="0" rtlCol="0" anchor="ctr"/>
          <a:lstStyle>
            <a:defPPr>
              <a:defRPr lang="en-CA"/>
            </a:defPPr>
            <a:lvl1pPr marL="0" algn="l" defTabSz="914400" rtl="0" eaLnBrk="1" latinLnBrk="0" hangingPunct="1">
              <a:defRPr sz="1000" kern="1200">
                <a:solidFill>
                  <a:schemeClr val="bg1"/>
                </a:solidFill>
                <a:effectLst>
                  <a:outerShdw blurRad="38100" dist="38100" dir="2700000" algn="tl">
                    <a:srgbClr val="000000">
                      <a:alpha val="43137"/>
                    </a:srgbClr>
                  </a:outerShdw>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CA" i="1">
                <a:solidFill>
                  <a:schemeClr val="bg1"/>
                </a:solidFill>
                <a:effectLst/>
              </a:rPr>
              <a:t>Réservé aux professionnels des placements</a:t>
            </a:r>
          </a:p>
        </p:txBody>
      </p:sp>
      <p:sp>
        <p:nvSpPr>
          <p:cNvPr id="15" name="Date Placeholder 3">
            <a:extLst>
              <a:ext uri="{FF2B5EF4-FFF2-40B4-BE49-F238E27FC236}">
                <a16:creationId xmlns:a16="http://schemas.microsoft.com/office/drawing/2014/main" id="{6C6A5474-121E-451F-8F0B-03523EA414EC}"/>
              </a:ext>
            </a:extLst>
          </p:cNvPr>
          <p:cNvSpPr>
            <a:spLocks noGrp="1"/>
          </p:cNvSpPr>
          <p:nvPr>
            <p:ph type="dt" sz="half" idx="10"/>
          </p:nvPr>
        </p:nvSpPr>
        <p:spPr>
          <a:xfrm>
            <a:off x="448056" y="6409944"/>
            <a:ext cx="3657600" cy="182880"/>
          </a:xfrm>
          <a:prstGeom prst="rect">
            <a:avLst/>
          </a:prstGeom>
        </p:spPr>
        <p:txBody>
          <a:bodyPr lIns="0" tIns="0" rIns="0" bIns="0"/>
          <a:lstStyle>
            <a:lvl1pPr>
              <a:defRPr sz="1200">
                <a:solidFill>
                  <a:schemeClr val="bg1"/>
                </a:solidFill>
              </a:defRPr>
            </a:lvl1pPr>
          </a:lstStyle>
          <a:p>
            <a:fld id="{BA3C95CC-CD7F-EF41-9083-A720D579D4EB}" type="datetime4">
              <a:rPr lang="en-US" smtClean="0"/>
              <a:pPr/>
              <a:t>November 18, 2024</a:t>
            </a:fld>
            <a:endParaRPr lang="en-CA"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1">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F527DB3-560B-4C58-8B98-13AF9D85E0C8}"/>
              </a:ext>
            </a:extLst>
          </p:cNvPr>
          <p:cNvPicPr>
            <a:picLocks/>
          </p:cNvPicPr>
          <p:nvPr userDrawn="1"/>
        </p:nvPicPr>
        <p:blipFill>
          <a:blip r:embed="rId2"/>
          <a:stretch>
            <a:fillRect/>
          </a:stretch>
        </p:blipFill>
        <p:spPr>
          <a:xfrm>
            <a:off x="-9144" y="-9145"/>
            <a:ext cx="12243816" cy="6912864"/>
          </a:xfrm>
          <a:prstGeom prst="rect">
            <a:avLst/>
          </a:prstGeom>
        </p:spPr>
      </p:pic>
      <p:pic>
        <p:nvPicPr>
          <p:cNvPr id="11" name="Picture 10">
            <a:extLst>
              <a:ext uri="{FF2B5EF4-FFF2-40B4-BE49-F238E27FC236}">
                <a16:creationId xmlns:a16="http://schemas.microsoft.com/office/drawing/2014/main" id="{15B3DE7A-DD33-435A-9832-9864F84E371E}"/>
              </a:ext>
            </a:extLst>
          </p:cNvPr>
          <p:cNvPicPr>
            <a:picLocks noChangeAspect="1"/>
          </p:cNvPicPr>
          <p:nvPr userDrawn="1"/>
        </p:nvPicPr>
        <p:blipFill>
          <a:blip r:embed="rId3"/>
          <a:stretch>
            <a:fillRect/>
          </a:stretch>
        </p:blipFill>
        <p:spPr>
          <a:xfrm>
            <a:off x="11283696" y="5797296"/>
            <a:ext cx="728379" cy="789839"/>
          </a:xfrm>
          <a:prstGeom prst="rect">
            <a:avLst/>
          </a:prstGeom>
        </p:spPr>
      </p:pic>
      <p:sp>
        <p:nvSpPr>
          <p:cNvPr id="3" name="Subtitle 2">
            <a:extLst>
              <a:ext uri="{FF2B5EF4-FFF2-40B4-BE49-F238E27FC236}">
                <a16:creationId xmlns:a16="http://schemas.microsoft.com/office/drawing/2014/main" id="{52D4339A-75B0-40F3-B53E-EA57D3E1B46C}"/>
              </a:ext>
            </a:extLst>
          </p:cNvPr>
          <p:cNvSpPr>
            <a:spLocks noGrp="1"/>
          </p:cNvSpPr>
          <p:nvPr>
            <p:ph type="subTitle" idx="1"/>
          </p:nvPr>
        </p:nvSpPr>
        <p:spPr>
          <a:xfrm>
            <a:off x="441242" y="2658693"/>
            <a:ext cx="7438734" cy="770307"/>
          </a:xfrm>
        </p:spPr>
        <p:txBody>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dirty="0"/>
          </a:p>
        </p:txBody>
      </p:sp>
      <p:sp>
        <p:nvSpPr>
          <p:cNvPr id="2" name="Title 1">
            <a:extLst>
              <a:ext uri="{FF2B5EF4-FFF2-40B4-BE49-F238E27FC236}">
                <a16:creationId xmlns:a16="http://schemas.microsoft.com/office/drawing/2014/main" id="{885D8042-2A28-4C49-8368-0CD7FDB3F173}"/>
              </a:ext>
            </a:extLst>
          </p:cNvPr>
          <p:cNvSpPr>
            <a:spLocks noGrp="1"/>
          </p:cNvSpPr>
          <p:nvPr>
            <p:ph type="ctrTitle" hasCustomPrompt="1"/>
          </p:nvPr>
        </p:nvSpPr>
        <p:spPr>
          <a:xfrm>
            <a:off x="441242" y="1070457"/>
            <a:ext cx="10455357" cy="1081072"/>
          </a:xfrm>
        </p:spPr>
        <p:txBody>
          <a:bodyPr anchor="t" anchorCtr="0">
            <a:normAutofit/>
          </a:bodyPr>
          <a:lstStyle>
            <a:lvl1pPr algn="l">
              <a:defRPr sz="3800">
                <a:solidFill>
                  <a:schemeClr val="tx2"/>
                </a:solidFill>
              </a:defRPr>
            </a:lvl1pPr>
          </a:lstStyle>
          <a:p>
            <a:r>
              <a:rPr lang="en-US" dirty="0"/>
              <a:t>Section title</a:t>
            </a:r>
            <a:endParaRPr lang="en-CA" dirty="0"/>
          </a:p>
        </p:txBody>
      </p:sp>
      <p:pic>
        <p:nvPicPr>
          <p:cNvPr id="12" name="Picture 1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27707" y="416404"/>
            <a:ext cx="3129934" cy="228479"/>
          </a:xfrm>
          <a:prstGeom prst="rect">
            <a:avLst/>
          </a:prstGeom>
        </p:spPr>
      </p:pic>
      <p:sp>
        <p:nvSpPr>
          <p:cNvPr id="14" name="Date Placeholder 2">
            <a:extLst>
              <a:ext uri="{FF2B5EF4-FFF2-40B4-BE49-F238E27FC236}">
                <a16:creationId xmlns:a16="http://schemas.microsoft.com/office/drawing/2014/main" id="{05AF1435-DAFD-43AB-98A5-C92AA7D5CB02}"/>
              </a:ext>
            </a:extLst>
          </p:cNvPr>
          <p:cNvSpPr txBox="1">
            <a:spLocks/>
          </p:cNvSpPr>
          <p:nvPr userDrawn="1"/>
        </p:nvSpPr>
        <p:spPr>
          <a:xfrm>
            <a:off x="7956275" y="6404293"/>
            <a:ext cx="2940325" cy="194578"/>
          </a:xfrm>
          <a:prstGeom prst="rect">
            <a:avLst/>
          </a:prstGeom>
        </p:spPr>
        <p:txBody>
          <a:bodyPr vert="horz" lIns="0" tIns="0" rIns="0" bIns="0" rtlCol="0" anchor="ctr"/>
          <a:lstStyle>
            <a:defPPr>
              <a:defRPr lang="en-CA"/>
            </a:defPPr>
            <a:lvl1pPr marL="0" algn="l" defTabSz="914400" rtl="0" eaLnBrk="1" latinLnBrk="0" hangingPunct="1">
              <a:defRPr sz="1000" kern="1200">
                <a:solidFill>
                  <a:schemeClr val="bg1"/>
                </a:solidFill>
                <a:effectLst>
                  <a:outerShdw blurRad="38100" dist="38100" dir="2700000" algn="tl">
                    <a:srgbClr val="000000">
                      <a:alpha val="43137"/>
                    </a:srgbClr>
                  </a:outerShdw>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CA" i="1">
                <a:solidFill>
                  <a:schemeClr val="tx1"/>
                </a:solidFill>
                <a:effectLst/>
              </a:rPr>
              <a:t>Réservé aux professionnels des placements</a:t>
            </a:r>
          </a:p>
        </p:txBody>
      </p:sp>
    </p:spTree>
    <p:extLst>
      <p:ext uri="{BB962C8B-B14F-4D97-AF65-F5344CB8AC3E}">
        <p14:creationId xmlns:p14="http://schemas.microsoft.com/office/powerpoint/2010/main" val="1105695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2">
    <p:bg>
      <p:bgPr>
        <a:solidFill>
          <a:schemeClr val="bg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5205C5E-3B53-421E-A28E-38EB4913E858}"/>
              </a:ext>
            </a:extLst>
          </p:cNvPr>
          <p:cNvPicPr>
            <a:picLocks noChangeAspect="1"/>
          </p:cNvPicPr>
          <p:nvPr userDrawn="1"/>
        </p:nvPicPr>
        <p:blipFill>
          <a:blip r:embed="rId2"/>
          <a:stretch>
            <a:fillRect/>
          </a:stretch>
        </p:blipFill>
        <p:spPr>
          <a:xfrm>
            <a:off x="11283696" y="5797296"/>
            <a:ext cx="728379" cy="789839"/>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7707" y="416404"/>
            <a:ext cx="3129934" cy="228479"/>
          </a:xfrm>
          <a:prstGeom prst="rect">
            <a:avLst/>
          </a:prstGeom>
        </p:spPr>
      </p:pic>
      <p:sp>
        <p:nvSpPr>
          <p:cNvPr id="6" name="Slide Number Placeholder 5">
            <a:extLst>
              <a:ext uri="{FF2B5EF4-FFF2-40B4-BE49-F238E27FC236}">
                <a16:creationId xmlns:a16="http://schemas.microsoft.com/office/drawing/2014/main" id="{E0E418A8-3C2A-4155-8FD4-35B57A1183E2}"/>
              </a:ext>
            </a:extLst>
          </p:cNvPr>
          <p:cNvSpPr>
            <a:spLocks noGrp="1"/>
          </p:cNvSpPr>
          <p:nvPr>
            <p:ph type="sldNum" sz="quarter" idx="12"/>
          </p:nvPr>
        </p:nvSpPr>
        <p:spPr>
          <a:xfrm>
            <a:off x="5852160" y="6407602"/>
            <a:ext cx="492975" cy="182880"/>
          </a:xfrm>
        </p:spPr>
        <p:txBody>
          <a:bodyPr/>
          <a:lstStyle>
            <a:lvl1pPr>
              <a:defRPr>
                <a:solidFill>
                  <a:schemeClr val="tx1"/>
                </a:solidFill>
              </a:defRPr>
            </a:lvl1pPr>
          </a:lstStyle>
          <a:p>
            <a:fld id="{00D53123-EF31-4C08-A865-932FC064F9C8}" type="slidenum">
              <a:rPr lang="en-CA" smtClean="0"/>
              <a:pPr/>
              <a:t>‹#›</a:t>
            </a:fld>
            <a:endParaRPr lang="en-CA" dirty="0"/>
          </a:p>
        </p:txBody>
      </p:sp>
      <p:sp>
        <p:nvSpPr>
          <p:cNvPr id="9" name="Date Placeholder 2">
            <a:extLst>
              <a:ext uri="{FF2B5EF4-FFF2-40B4-BE49-F238E27FC236}">
                <a16:creationId xmlns:a16="http://schemas.microsoft.com/office/drawing/2014/main" id="{05AF1435-DAFD-43AB-98A5-C92AA7D5CB02}"/>
              </a:ext>
            </a:extLst>
          </p:cNvPr>
          <p:cNvSpPr txBox="1">
            <a:spLocks/>
          </p:cNvSpPr>
          <p:nvPr userDrawn="1"/>
        </p:nvSpPr>
        <p:spPr>
          <a:xfrm>
            <a:off x="7956275" y="6404293"/>
            <a:ext cx="2940325" cy="194578"/>
          </a:xfrm>
          <a:prstGeom prst="rect">
            <a:avLst/>
          </a:prstGeom>
        </p:spPr>
        <p:txBody>
          <a:bodyPr vert="horz" lIns="0" tIns="0" rIns="0" bIns="0" rtlCol="0" anchor="ctr"/>
          <a:lstStyle>
            <a:defPPr>
              <a:defRPr lang="en-CA"/>
            </a:defPPr>
            <a:lvl1pPr marL="0" algn="l" defTabSz="914400" rtl="0" eaLnBrk="1" latinLnBrk="0" hangingPunct="1">
              <a:defRPr sz="1000" kern="1200">
                <a:solidFill>
                  <a:schemeClr val="bg1"/>
                </a:solidFill>
                <a:effectLst>
                  <a:outerShdw blurRad="38100" dist="38100" dir="2700000" algn="tl">
                    <a:srgbClr val="000000">
                      <a:alpha val="43137"/>
                    </a:srgbClr>
                  </a:outerShdw>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CA" i="1">
                <a:solidFill>
                  <a:schemeClr val="tx1"/>
                </a:solidFill>
                <a:effectLst/>
              </a:rPr>
              <a:t>Réservé aux professionnels des placements</a:t>
            </a:r>
          </a:p>
        </p:txBody>
      </p:sp>
      <p:sp>
        <p:nvSpPr>
          <p:cNvPr id="3" name="Text Placeholder 2">
            <a:extLst>
              <a:ext uri="{FF2B5EF4-FFF2-40B4-BE49-F238E27FC236}">
                <a16:creationId xmlns:a16="http://schemas.microsoft.com/office/drawing/2014/main" id="{3C23720B-115F-40E8-9427-A01D4BBF8B87}"/>
              </a:ext>
            </a:extLst>
          </p:cNvPr>
          <p:cNvSpPr>
            <a:spLocks noGrp="1"/>
          </p:cNvSpPr>
          <p:nvPr>
            <p:ph type="body" idx="1"/>
          </p:nvPr>
        </p:nvSpPr>
        <p:spPr>
          <a:xfrm>
            <a:off x="438912" y="2660904"/>
            <a:ext cx="5657088" cy="768096"/>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3" name="Title 1">
            <a:extLst>
              <a:ext uri="{FF2B5EF4-FFF2-40B4-BE49-F238E27FC236}">
                <a16:creationId xmlns:a16="http://schemas.microsoft.com/office/drawing/2014/main" id="{C6B28C38-4C88-452B-B302-64A2AAF829DE}"/>
              </a:ext>
            </a:extLst>
          </p:cNvPr>
          <p:cNvSpPr>
            <a:spLocks noGrp="1"/>
          </p:cNvSpPr>
          <p:nvPr>
            <p:ph type="title" hasCustomPrompt="1"/>
          </p:nvPr>
        </p:nvSpPr>
        <p:spPr>
          <a:xfrm>
            <a:off x="438912" y="1222248"/>
            <a:ext cx="10457688" cy="1078992"/>
          </a:xfrm>
        </p:spPr>
        <p:txBody>
          <a:bodyPr anchor="b">
            <a:normAutofit/>
          </a:bodyPr>
          <a:lstStyle>
            <a:lvl1pPr>
              <a:defRPr sz="3800">
                <a:solidFill>
                  <a:schemeClr val="tx2"/>
                </a:solidFill>
              </a:defRPr>
            </a:lvl1pPr>
          </a:lstStyle>
          <a:p>
            <a:r>
              <a:rPr lang="en-US" dirty="0"/>
              <a:t>Section title</a:t>
            </a:r>
            <a:endParaRPr lang="en-CA" dirty="0"/>
          </a:p>
        </p:txBody>
      </p:sp>
    </p:spTree>
    <p:extLst>
      <p:ext uri="{BB962C8B-B14F-4D97-AF65-F5344CB8AC3E}">
        <p14:creationId xmlns:p14="http://schemas.microsoft.com/office/powerpoint/2010/main" val="25489209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C2BE687-35FE-4164-8F7E-B58CFBE33EF2}"/>
              </a:ext>
            </a:extLst>
          </p:cNvPr>
          <p:cNvPicPr>
            <a:picLocks noChangeAspect="1"/>
          </p:cNvPicPr>
          <p:nvPr userDrawn="1"/>
        </p:nvPicPr>
        <p:blipFill>
          <a:blip r:embed="rId2"/>
          <a:stretch>
            <a:fillRect/>
          </a:stretch>
        </p:blipFill>
        <p:spPr>
          <a:xfrm>
            <a:off x="11283696" y="5797296"/>
            <a:ext cx="728379" cy="789839"/>
          </a:xfrm>
          <a:prstGeom prst="rect">
            <a:avLst/>
          </a:prstGeom>
        </p:spPr>
      </p:pic>
      <p:sp>
        <p:nvSpPr>
          <p:cNvPr id="6" name="Slide Number Placeholder 5">
            <a:extLst>
              <a:ext uri="{FF2B5EF4-FFF2-40B4-BE49-F238E27FC236}">
                <a16:creationId xmlns:a16="http://schemas.microsoft.com/office/drawing/2014/main" id="{E0E418A8-3C2A-4155-8FD4-35B57A1183E2}"/>
              </a:ext>
            </a:extLst>
          </p:cNvPr>
          <p:cNvSpPr>
            <a:spLocks noGrp="1"/>
          </p:cNvSpPr>
          <p:nvPr>
            <p:ph type="sldNum" sz="quarter" idx="12"/>
          </p:nvPr>
        </p:nvSpPr>
        <p:spPr>
          <a:xfrm>
            <a:off x="5852160" y="6407602"/>
            <a:ext cx="492975" cy="182880"/>
          </a:xfrm>
        </p:spPr>
        <p:txBody>
          <a:bodyPr/>
          <a:lstStyle>
            <a:lvl1pPr>
              <a:defRPr>
                <a:solidFill>
                  <a:schemeClr val="tx1"/>
                </a:solidFill>
              </a:defRPr>
            </a:lvl1pPr>
          </a:lstStyle>
          <a:p>
            <a:fld id="{00D53123-EF31-4C08-A865-932FC064F9C8}" type="slidenum">
              <a:rPr lang="en-CA" smtClean="0"/>
              <a:pPr/>
              <a:t>‹#›</a:t>
            </a:fld>
            <a:endParaRPr lang="en-CA" dirty="0"/>
          </a:p>
        </p:txBody>
      </p:sp>
      <p:sp>
        <p:nvSpPr>
          <p:cNvPr id="3" name="Text Placeholder 2">
            <a:extLst>
              <a:ext uri="{FF2B5EF4-FFF2-40B4-BE49-F238E27FC236}">
                <a16:creationId xmlns:a16="http://schemas.microsoft.com/office/drawing/2014/main" id="{3C23720B-115F-40E8-9427-A01D4BBF8B87}"/>
              </a:ext>
            </a:extLst>
          </p:cNvPr>
          <p:cNvSpPr>
            <a:spLocks noGrp="1"/>
          </p:cNvSpPr>
          <p:nvPr>
            <p:ph type="body" idx="1"/>
          </p:nvPr>
        </p:nvSpPr>
        <p:spPr>
          <a:xfrm>
            <a:off x="438912" y="2660904"/>
            <a:ext cx="5657088" cy="768096"/>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7707" y="416404"/>
            <a:ext cx="3129934" cy="228479"/>
          </a:xfrm>
          <a:prstGeom prst="rect">
            <a:avLst/>
          </a:prstGeom>
        </p:spPr>
      </p:pic>
      <p:sp>
        <p:nvSpPr>
          <p:cNvPr id="10" name="Date Placeholder 2">
            <a:extLst>
              <a:ext uri="{FF2B5EF4-FFF2-40B4-BE49-F238E27FC236}">
                <a16:creationId xmlns:a16="http://schemas.microsoft.com/office/drawing/2014/main" id="{05AF1435-DAFD-43AB-98A5-C92AA7D5CB02}"/>
              </a:ext>
            </a:extLst>
          </p:cNvPr>
          <p:cNvSpPr txBox="1">
            <a:spLocks/>
          </p:cNvSpPr>
          <p:nvPr userDrawn="1"/>
        </p:nvSpPr>
        <p:spPr>
          <a:xfrm>
            <a:off x="7956275" y="6404293"/>
            <a:ext cx="2940325" cy="194578"/>
          </a:xfrm>
          <a:prstGeom prst="rect">
            <a:avLst/>
          </a:prstGeom>
        </p:spPr>
        <p:txBody>
          <a:bodyPr vert="horz" lIns="0" tIns="0" rIns="0" bIns="0" rtlCol="0" anchor="ctr"/>
          <a:lstStyle>
            <a:defPPr>
              <a:defRPr lang="en-CA"/>
            </a:defPPr>
            <a:lvl1pPr marL="0" algn="l" defTabSz="914400" rtl="0" eaLnBrk="1" latinLnBrk="0" hangingPunct="1">
              <a:defRPr sz="1000" kern="1200">
                <a:solidFill>
                  <a:schemeClr val="bg1"/>
                </a:solidFill>
                <a:effectLst>
                  <a:outerShdw blurRad="38100" dist="38100" dir="2700000" algn="tl">
                    <a:srgbClr val="000000">
                      <a:alpha val="43137"/>
                    </a:srgbClr>
                  </a:outerShdw>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CA" i="1">
                <a:solidFill>
                  <a:schemeClr val="tx1"/>
                </a:solidFill>
                <a:effectLst/>
              </a:rPr>
              <a:t>Réservé aux professionnels des placements</a:t>
            </a:r>
          </a:p>
        </p:txBody>
      </p:sp>
      <p:sp>
        <p:nvSpPr>
          <p:cNvPr id="12" name="Title 1">
            <a:extLst>
              <a:ext uri="{FF2B5EF4-FFF2-40B4-BE49-F238E27FC236}">
                <a16:creationId xmlns:a16="http://schemas.microsoft.com/office/drawing/2014/main" id="{C6B28C38-4C88-452B-B302-64A2AAF829DE}"/>
              </a:ext>
            </a:extLst>
          </p:cNvPr>
          <p:cNvSpPr>
            <a:spLocks noGrp="1"/>
          </p:cNvSpPr>
          <p:nvPr>
            <p:ph type="title" hasCustomPrompt="1"/>
          </p:nvPr>
        </p:nvSpPr>
        <p:spPr>
          <a:xfrm>
            <a:off x="438912" y="1222248"/>
            <a:ext cx="10457688" cy="1078992"/>
          </a:xfrm>
        </p:spPr>
        <p:txBody>
          <a:bodyPr anchor="b">
            <a:normAutofit/>
          </a:bodyPr>
          <a:lstStyle>
            <a:lvl1pPr>
              <a:defRPr sz="3800">
                <a:solidFill>
                  <a:schemeClr val="tx2"/>
                </a:solidFill>
              </a:defRPr>
            </a:lvl1pPr>
          </a:lstStyle>
          <a:p>
            <a:r>
              <a:rPr lang="en-CA" dirty="0"/>
              <a:t>Thank you</a:t>
            </a:r>
          </a:p>
        </p:txBody>
      </p:sp>
    </p:spTree>
    <p:extLst>
      <p:ext uri="{BB962C8B-B14F-4D97-AF65-F5344CB8AC3E}">
        <p14:creationId xmlns:p14="http://schemas.microsoft.com/office/powerpoint/2010/main" val="39229472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692665-EEBA-45F4-8CCA-4E4B3AB9C6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9" name="Slide Number Placeholder 8">
            <a:extLst>
              <a:ext uri="{FF2B5EF4-FFF2-40B4-BE49-F238E27FC236}">
                <a16:creationId xmlns:a16="http://schemas.microsoft.com/office/drawing/2014/main" id="{CB4F0F05-0D1F-4203-8C15-D7FF14DF6848}"/>
              </a:ext>
            </a:extLst>
          </p:cNvPr>
          <p:cNvSpPr>
            <a:spLocks noGrp="1"/>
          </p:cNvSpPr>
          <p:nvPr>
            <p:ph type="sldNum" sz="quarter" idx="12"/>
          </p:nvPr>
        </p:nvSpPr>
        <p:spPr>
          <a:xfrm>
            <a:off x="5847988" y="6407602"/>
            <a:ext cx="492975" cy="182880"/>
          </a:xfrm>
        </p:spPr>
        <p:txBody>
          <a:bodyPr/>
          <a:lstStyle/>
          <a:p>
            <a:fld id="{00D53123-EF31-4C08-A865-932FC064F9C8}" type="slidenum">
              <a:rPr lang="en-CA" smtClean="0"/>
              <a:pPr/>
              <a:t>‹#›</a:t>
            </a:fld>
            <a:endParaRPr lang="en-CA" dirty="0"/>
          </a:p>
        </p:txBody>
      </p:sp>
      <p:sp>
        <p:nvSpPr>
          <p:cNvPr id="7" name="Title 1">
            <a:extLst>
              <a:ext uri="{FF2B5EF4-FFF2-40B4-BE49-F238E27FC236}">
                <a16:creationId xmlns:a16="http://schemas.microsoft.com/office/drawing/2014/main" id="{ED44F4B7-9B8C-4799-AEEA-05A3EE9EC5B6}"/>
              </a:ext>
            </a:extLst>
          </p:cNvPr>
          <p:cNvSpPr>
            <a:spLocks noGrp="1"/>
          </p:cNvSpPr>
          <p:nvPr>
            <p:ph type="title"/>
          </p:nvPr>
        </p:nvSpPr>
        <p:spPr>
          <a:xfrm>
            <a:off x="685800" y="365126"/>
            <a:ext cx="10210800" cy="798046"/>
          </a:xfrm>
        </p:spPr>
        <p:txBody>
          <a:bodyPr/>
          <a:lstStyle/>
          <a:p>
            <a:r>
              <a:rPr lang="en-US"/>
              <a:t>Click to edit Master title style</a:t>
            </a:r>
            <a:endParaRPr lang="en-CA"/>
          </a:p>
        </p:txBody>
      </p:sp>
      <p:sp>
        <p:nvSpPr>
          <p:cNvPr id="4" name="Text Placeholder 3"/>
          <p:cNvSpPr>
            <a:spLocks noGrp="1"/>
          </p:cNvSpPr>
          <p:nvPr>
            <p:ph type="body" sz="quarter" idx="13" hasCustomPrompt="1"/>
          </p:nvPr>
        </p:nvSpPr>
        <p:spPr>
          <a:xfrm>
            <a:off x="685800" y="5943600"/>
            <a:ext cx="10210800" cy="381000"/>
          </a:xfrm>
        </p:spPr>
        <p:txBody>
          <a:bodyPr anchor="b">
            <a:normAutofit/>
          </a:bodyPr>
          <a:lstStyle>
            <a:lvl1pPr>
              <a:defRPr sz="1000">
                <a:solidFill>
                  <a:schemeClr val="tx1">
                    <a:lumMod val="50000"/>
                    <a:lumOff val="50000"/>
                  </a:schemeClr>
                </a:solidFill>
                <a:latin typeface="Arial Narrow" panose="020B0606020202030204" pitchFamily="34" charset="0"/>
              </a:defRPr>
            </a:lvl1pPr>
          </a:lstStyle>
          <a:p>
            <a:pPr lvl="0"/>
            <a:r>
              <a:rPr lang="en-US" dirty="0"/>
              <a:t>Click to add disclosur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692665-EEBA-45F4-8CCA-4E4B3AB9C6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9" name="Slide Number Placeholder 8">
            <a:extLst>
              <a:ext uri="{FF2B5EF4-FFF2-40B4-BE49-F238E27FC236}">
                <a16:creationId xmlns:a16="http://schemas.microsoft.com/office/drawing/2014/main" id="{CB4F0F05-0D1F-4203-8C15-D7FF14DF6848}"/>
              </a:ext>
            </a:extLst>
          </p:cNvPr>
          <p:cNvSpPr>
            <a:spLocks noGrp="1"/>
          </p:cNvSpPr>
          <p:nvPr>
            <p:ph type="sldNum" sz="quarter" idx="12"/>
          </p:nvPr>
        </p:nvSpPr>
        <p:spPr/>
        <p:txBody>
          <a:bodyPr/>
          <a:lstStyle/>
          <a:p>
            <a:fld id="{00D53123-EF31-4C08-A865-932FC064F9C8}" type="slidenum">
              <a:rPr lang="en-CA" smtClean="0"/>
              <a:pPr/>
              <a:t>‹#›</a:t>
            </a:fld>
            <a:endParaRPr lang="en-CA" dirty="0"/>
          </a:p>
        </p:txBody>
      </p:sp>
      <p:sp>
        <p:nvSpPr>
          <p:cNvPr id="10" name="Text Placeholder 8">
            <a:extLst>
              <a:ext uri="{FF2B5EF4-FFF2-40B4-BE49-F238E27FC236}">
                <a16:creationId xmlns:a16="http://schemas.microsoft.com/office/drawing/2014/main" id="{5E5BAACF-42E7-4313-8482-1BE8FBA28CCE}"/>
              </a:ext>
            </a:extLst>
          </p:cNvPr>
          <p:cNvSpPr>
            <a:spLocks noGrp="1"/>
          </p:cNvSpPr>
          <p:nvPr>
            <p:ph type="body" sz="quarter" idx="14"/>
          </p:nvPr>
        </p:nvSpPr>
        <p:spPr>
          <a:xfrm>
            <a:off x="685800" y="776606"/>
            <a:ext cx="10210800" cy="414019"/>
          </a:xfrm>
        </p:spPr>
        <p:txBody>
          <a:bodyPr anchor="ctr" anchorCtr="0"/>
          <a:lstStyle/>
          <a:p>
            <a:pPr lvl="0"/>
            <a:r>
              <a:rPr lang="en-US"/>
              <a:t>Click to edit Master text styles</a:t>
            </a:r>
          </a:p>
        </p:txBody>
      </p:sp>
      <p:sp>
        <p:nvSpPr>
          <p:cNvPr id="11" name="Title 1">
            <a:extLst>
              <a:ext uri="{FF2B5EF4-FFF2-40B4-BE49-F238E27FC236}">
                <a16:creationId xmlns:a16="http://schemas.microsoft.com/office/drawing/2014/main" id="{D089F7DF-4377-47A2-B733-FBEECC7CECFC}"/>
              </a:ext>
            </a:extLst>
          </p:cNvPr>
          <p:cNvSpPr>
            <a:spLocks noGrp="1"/>
          </p:cNvSpPr>
          <p:nvPr>
            <p:ph type="title"/>
          </p:nvPr>
        </p:nvSpPr>
        <p:spPr>
          <a:xfrm>
            <a:off x="685800" y="365126"/>
            <a:ext cx="10210800" cy="411480"/>
          </a:xfrm>
        </p:spPr>
        <p:txBody>
          <a:bodyPr/>
          <a:lstStyle/>
          <a:p>
            <a:r>
              <a:rPr lang="en-US"/>
              <a:t>Click to edit Master title style</a:t>
            </a:r>
            <a:endParaRPr lang="en-CA" dirty="0"/>
          </a:p>
        </p:txBody>
      </p:sp>
      <p:sp>
        <p:nvSpPr>
          <p:cNvPr id="7" name="Text Placeholder 3"/>
          <p:cNvSpPr>
            <a:spLocks noGrp="1"/>
          </p:cNvSpPr>
          <p:nvPr>
            <p:ph type="body" sz="quarter" idx="13" hasCustomPrompt="1"/>
          </p:nvPr>
        </p:nvSpPr>
        <p:spPr>
          <a:xfrm>
            <a:off x="685800" y="5943600"/>
            <a:ext cx="10210800" cy="381000"/>
          </a:xfrm>
        </p:spPr>
        <p:txBody>
          <a:bodyPr anchor="b">
            <a:normAutofit/>
          </a:bodyPr>
          <a:lstStyle>
            <a:lvl1pPr>
              <a:defRPr sz="1000">
                <a:solidFill>
                  <a:schemeClr val="tx1">
                    <a:lumMod val="50000"/>
                    <a:lumOff val="50000"/>
                  </a:schemeClr>
                </a:solidFill>
                <a:latin typeface="Arial Narrow" panose="020B0606020202030204" pitchFamily="34" charset="0"/>
              </a:defRPr>
            </a:lvl1pPr>
          </a:lstStyle>
          <a:p>
            <a:pPr lvl="0"/>
            <a:r>
              <a:rPr lang="en-US" dirty="0"/>
              <a:t>Click to add disclosur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C4905B-8179-6402-DFD9-1B173B0DBF39}"/>
              </a:ext>
            </a:extLst>
          </p:cNvPr>
          <p:cNvGraphicFramePr>
            <a:graphicFrameLocks noChangeAspect="1"/>
          </p:cNvGraphicFramePr>
          <p:nvPr userDrawn="1">
            <p:custDataLst>
              <p:tags r:id="rId17"/>
            </p:custDataLst>
            <p:extLst>
              <p:ext uri="{D42A27DB-BD31-4B8C-83A1-F6EECF244321}">
                <p14:modId xmlns:p14="http://schemas.microsoft.com/office/powerpoint/2010/main" val="675316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592" imgH="595" progId="TCLayout.ActiveDocument.1">
                  <p:embed/>
                </p:oleObj>
              </mc:Choice>
              <mc:Fallback>
                <p:oleObj name="think-cell Slide" r:id="rId18" imgW="592" imgH="59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86BD57E6-D642-4633-BE8D-24D8B16FFC8C}"/>
              </a:ext>
            </a:extLst>
          </p:cNvPr>
          <p:cNvSpPr/>
          <p:nvPr userDrawn="1"/>
        </p:nvSpPr>
        <p:spPr>
          <a:xfrm>
            <a:off x="-9144" y="-9144"/>
            <a:ext cx="12207240" cy="12252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noProof="0" dirty="0"/>
          </a:p>
        </p:txBody>
      </p:sp>
      <p:pic>
        <p:nvPicPr>
          <p:cNvPr id="10" name="Picture 9">
            <a:extLst>
              <a:ext uri="{FF2B5EF4-FFF2-40B4-BE49-F238E27FC236}">
                <a16:creationId xmlns:a16="http://schemas.microsoft.com/office/drawing/2014/main" id="{053C1ACB-A81A-4CEE-922C-A7F5AA1EBEDA}"/>
              </a:ext>
            </a:extLst>
          </p:cNvPr>
          <p:cNvPicPr>
            <a:picLocks noChangeAspect="1"/>
          </p:cNvPicPr>
          <p:nvPr userDrawn="1"/>
        </p:nvPicPr>
        <p:blipFill>
          <a:blip r:embed="rId20"/>
          <a:stretch>
            <a:fillRect/>
          </a:stretch>
        </p:blipFill>
        <p:spPr>
          <a:xfrm>
            <a:off x="11283696" y="5795010"/>
            <a:ext cx="728379" cy="789839"/>
          </a:xfrm>
          <a:prstGeom prst="rect">
            <a:avLst/>
          </a:prstGeom>
        </p:spPr>
      </p:pic>
      <p:sp>
        <p:nvSpPr>
          <p:cNvPr id="6" name="Slide Number Placeholder 5">
            <a:extLst>
              <a:ext uri="{FF2B5EF4-FFF2-40B4-BE49-F238E27FC236}">
                <a16:creationId xmlns:a16="http://schemas.microsoft.com/office/drawing/2014/main" id="{1565CCC4-AF7B-49EE-BDA4-ACAA8915851B}"/>
              </a:ext>
            </a:extLst>
          </p:cNvPr>
          <p:cNvSpPr>
            <a:spLocks noGrp="1"/>
          </p:cNvSpPr>
          <p:nvPr userDrawn="1">
            <p:ph type="sldNum" sz="quarter" idx="4"/>
          </p:nvPr>
        </p:nvSpPr>
        <p:spPr>
          <a:xfrm>
            <a:off x="5847988" y="6407602"/>
            <a:ext cx="492975" cy="182880"/>
          </a:xfrm>
          <a:prstGeom prst="rect">
            <a:avLst/>
          </a:prstGeom>
          <a:noFill/>
        </p:spPr>
        <p:txBody>
          <a:bodyPr vert="horz" lIns="0" tIns="0" rIns="0" bIns="0" rtlCol="0" anchor="ctr"/>
          <a:lstStyle>
            <a:lvl1pPr algn="ctr">
              <a:defRPr sz="1000">
                <a:solidFill>
                  <a:schemeClr val="accent1"/>
                </a:solidFill>
              </a:defRPr>
            </a:lvl1pPr>
          </a:lstStyle>
          <a:p>
            <a:fld id="{00D53123-EF31-4C08-A865-932FC064F9C8}" type="slidenum">
              <a:rPr lang="en-CA" smtClean="0"/>
              <a:pPr/>
              <a:t>‹#›</a:t>
            </a:fld>
            <a:endParaRPr lang="en-CA" dirty="0"/>
          </a:p>
        </p:txBody>
      </p:sp>
      <p:sp>
        <p:nvSpPr>
          <p:cNvPr id="3" name="Text Placeholder 2">
            <a:extLst>
              <a:ext uri="{FF2B5EF4-FFF2-40B4-BE49-F238E27FC236}">
                <a16:creationId xmlns:a16="http://schemas.microsoft.com/office/drawing/2014/main" id="{89A319DE-B60D-42AD-BAA6-1D3621150E68}"/>
              </a:ext>
            </a:extLst>
          </p:cNvPr>
          <p:cNvSpPr>
            <a:spLocks noGrp="1"/>
          </p:cNvSpPr>
          <p:nvPr userDrawn="1">
            <p:ph type="body" idx="1"/>
          </p:nvPr>
        </p:nvSpPr>
        <p:spPr>
          <a:xfrm>
            <a:off x="685800" y="1418665"/>
            <a:ext cx="10212323" cy="4524935"/>
          </a:xfrm>
          <a:prstGeom prst="rect">
            <a:avLst/>
          </a:prstGeom>
        </p:spPr>
        <p:txBody>
          <a:bodyPr vert="horz" lIns="0" tIns="0" rIns="0" bIns="0" rtlCol="0">
            <a:normAutofit/>
          </a:bodyPr>
          <a:lstStyle/>
          <a:p>
            <a:pPr lvl="0"/>
            <a:r>
              <a:rPr lang="en-CA" noProof="0"/>
              <a:t>Edit Master text styles</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2" name="Title Placeholder 1">
            <a:extLst>
              <a:ext uri="{FF2B5EF4-FFF2-40B4-BE49-F238E27FC236}">
                <a16:creationId xmlns:a16="http://schemas.microsoft.com/office/drawing/2014/main" id="{57A4EE2F-F924-4236-8548-F7973D50D790}"/>
              </a:ext>
            </a:extLst>
          </p:cNvPr>
          <p:cNvSpPr>
            <a:spLocks noGrp="1"/>
          </p:cNvSpPr>
          <p:nvPr userDrawn="1">
            <p:ph type="title"/>
          </p:nvPr>
        </p:nvSpPr>
        <p:spPr>
          <a:xfrm>
            <a:off x="685800" y="365126"/>
            <a:ext cx="10210800" cy="798046"/>
          </a:xfrm>
          <a:prstGeom prst="rect">
            <a:avLst/>
          </a:prstGeom>
        </p:spPr>
        <p:txBody>
          <a:bodyPr vert="horz" lIns="0" tIns="0" rIns="0" bIns="0" rtlCol="0" anchor="ctr">
            <a:normAutofit/>
          </a:bodyPr>
          <a:lstStyle/>
          <a:p>
            <a:r>
              <a:rPr lang="en-US" noProof="0"/>
              <a:t>Click to edit Master title style</a:t>
            </a:r>
            <a:endParaRPr lang="en-CA" noProof="0" dirty="0"/>
          </a:p>
        </p:txBody>
      </p:sp>
      <p:pic>
        <p:nvPicPr>
          <p:cNvPr id="11" name="Picture 10"/>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674042" y="6464276"/>
            <a:ext cx="1870819" cy="104579"/>
          </a:xfrm>
          <a:prstGeom prst="rect">
            <a:avLst/>
          </a:prstGeom>
        </p:spPr>
      </p:pic>
    </p:spTree>
    <p:extLst>
      <p:ext uri="{BB962C8B-B14F-4D97-AF65-F5344CB8AC3E}">
        <p14:creationId xmlns:p14="http://schemas.microsoft.com/office/powerpoint/2010/main" val="1724841895"/>
      </p:ext>
    </p:extLst>
  </p:cSld>
  <p:clrMap bg1="lt1" tx1="dk1" bg2="lt2" tx2="dk2" accent1="accent1" accent2="accent2" accent3="accent3" accent4="accent4" accent5="accent5" accent6="accent6" hlink="hlink" folHlink="folHlink"/>
  <p:sldLayoutIdLst>
    <p:sldLayoutId id="2147483660" r:id="rId1"/>
    <p:sldLayoutId id="2147483691" r:id="rId2"/>
    <p:sldLayoutId id="2147483664" r:id="rId3"/>
    <p:sldLayoutId id="2147483692" r:id="rId4"/>
    <p:sldLayoutId id="2147483649" r:id="rId5"/>
    <p:sldLayoutId id="2147483651" r:id="rId6"/>
    <p:sldLayoutId id="2147483663" r:id="rId7"/>
    <p:sldLayoutId id="2147483698" r:id="rId8"/>
    <p:sldLayoutId id="2147483694" r:id="rId9"/>
    <p:sldLayoutId id="2147483652" r:id="rId10"/>
    <p:sldLayoutId id="2147483695" r:id="rId11"/>
    <p:sldLayoutId id="2147483653" r:id="rId12"/>
    <p:sldLayoutId id="2147483696" r:id="rId13"/>
    <p:sldLayoutId id="2147483654" r:id="rId14"/>
    <p:sldLayoutId id="2147483697" r:id="rId15"/>
  </p:sldLayoutIdLst>
  <p:hf hdr="0" ftr="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286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457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914400" indent="-228600" algn="l" defTabSz="914400" rtl="0" eaLnBrk="1" latinLnBrk="0" hangingPunct="1">
        <a:lnSpc>
          <a:spcPct val="90000"/>
        </a:lnSpc>
        <a:spcBef>
          <a:spcPts val="500"/>
        </a:spcBef>
        <a:buFont typeface="Arial" panose="020B0604020202020204" pitchFamily="34" charset="0"/>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CA"/>
      </a:defPPr>
      <a:lvl1pPr marL="0" algn="l" defTabSz="914400" rtl="0" eaLnBrk="1" latinLnBrk="0" hangingPunct="1">
        <a:defRPr sz="1200" kern="1200">
          <a:solidFill>
            <a:schemeClr val="tx1"/>
          </a:solidFill>
          <a:latin typeface="+mn-lt"/>
          <a:ea typeface="+mn-ea"/>
          <a:cs typeface="+mn-cs"/>
        </a:defRPr>
      </a:lvl1pPr>
      <a:lvl2pPr marL="0" algn="r" defTabSz="914400" rtl="0" eaLnBrk="1" latinLnBrk="0" hangingPunct="1">
        <a:defRPr sz="1200" kern="1200">
          <a:solidFill>
            <a:schemeClr val="tx1"/>
          </a:solidFill>
          <a:latin typeface="+mn-lt"/>
          <a:ea typeface="+mn-ea"/>
          <a:cs typeface="+mn-cs"/>
        </a:defRPr>
      </a:lvl2pPr>
      <a:lvl3pPr marL="0" algn="ctr" defTabSz="914400" rtl="0" eaLnBrk="1" latinLnBrk="0" hangingPunct="1">
        <a:defRPr sz="1200" kern="1200">
          <a:solidFill>
            <a:schemeClr val="tx1"/>
          </a:solidFill>
          <a:latin typeface="+mn-lt"/>
          <a:ea typeface="+mn-ea"/>
          <a:cs typeface="+mn-cs"/>
        </a:defRPr>
      </a:lvl3pPr>
      <a:lvl4pPr marL="0" algn="l" defTabSz="914400" rtl="0" eaLnBrk="1" latinLnBrk="0" hangingPunct="1">
        <a:defRPr sz="1200" kern="1200">
          <a:solidFill>
            <a:schemeClr val="tx1"/>
          </a:solidFill>
          <a:latin typeface="+mn-lt"/>
          <a:ea typeface="+mn-ea"/>
          <a:cs typeface="+mn-cs"/>
        </a:defRPr>
      </a:lvl4pPr>
      <a:lvl5pPr marL="0" algn="l" defTabSz="914400" rtl="0" eaLnBrk="1" latinLnBrk="0" hangingPunct="1">
        <a:defRPr sz="1200" kern="1200">
          <a:solidFill>
            <a:schemeClr val="tx1"/>
          </a:solidFill>
          <a:latin typeface="+mn-lt"/>
          <a:ea typeface="+mn-ea"/>
          <a:cs typeface="+mn-cs"/>
        </a:defRPr>
      </a:lvl5pPr>
      <a:lvl6pPr marL="0" algn="l" defTabSz="914400" rtl="0" eaLnBrk="1" latinLnBrk="0" hangingPunct="1">
        <a:defRPr sz="1200" kern="1200">
          <a:solidFill>
            <a:schemeClr val="tx1"/>
          </a:solidFill>
          <a:latin typeface="+mn-lt"/>
          <a:ea typeface="+mn-ea"/>
          <a:cs typeface="+mn-cs"/>
        </a:defRPr>
      </a:lvl6pPr>
      <a:lvl7pPr marL="0" algn="l" defTabSz="914400" rtl="0" eaLnBrk="1" latinLnBrk="0" hangingPunct="1">
        <a:defRPr sz="1200" kern="1200">
          <a:solidFill>
            <a:schemeClr val="tx1"/>
          </a:solidFill>
          <a:latin typeface="+mn-lt"/>
          <a:ea typeface="+mn-ea"/>
          <a:cs typeface="+mn-cs"/>
        </a:defRPr>
      </a:lvl7pPr>
      <a:lvl8pPr marL="0" algn="l" defTabSz="914400" rtl="0" eaLnBrk="1" latinLnBrk="0" hangingPunct="1">
        <a:defRPr sz="1200" kern="1200">
          <a:solidFill>
            <a:schemeClr val="tx1"/>
          </a:solidFill>
          <a:latin typeface="+mn-lt"/>
          <a:ea typeface="+mn-ea"/>
          <a:cs typeface="+mn-cs"/>
        </a:defRPr>
      </a:lvl8pPr>
      <a:lvl9pPr marL="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32" userDrawn="1">
          <p15:clr>
            <a:srgbClr val="F26B43"/>
          </p15:clr>
        </p15:guide>
        <p15:guide id="4" pos="6864" userDrawn="1">
          <p15:clr>
            <a:srgbClr val="F26B43"/>
          </p15:clr>
        </p15:guide>
        <p15:guide id="5" orient="horz" pos="888" userDrawn="1">
          <p15:clr>
            <a:srgbClr val="F26B43"/>
          </p15:clr>
        </p15:guide>
        <p15:guide id="6" orient="horz" pos="412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5.xml"/><Relationship Id="rId1" Type="http://schemas.openxmlformats.org/officeDocument/2006/relationships/tags" Target="../tags/tag4.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5.xml"/><Relationship Id="rId1" Type="http://schemas.openxmlformats.org/officeDocument/2006/relationships/tags" Target="../tags/tag5.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5.xml"/><Relationship Id="rId1" Type="http://schemas.openxmlformats.org/officeDocument/2006/relationships/tags" Target="../tags/tag6.x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tags" Target="../tags/tag7.xml"/><Relationship Id="rId6" Type="http://schemas.openxmlformats.org/officeDocument/2006/relationships/chart" Target="../charts/chart3.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xml"/><Relationship Id="rId1" Type="http://schemas.openxmlformats.org/officeDocument/2006/relationships/tags" Target="../tags/tag8.xml"/><Relationship Id="rId6" Type="http://schemas.openxmlformats.org/officeDocument/2006/relationships/chart" Target="../charts/chart4.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5.xml"/><Relationship Id="rId2" Type="http://schemas.openxmlformats.org/officeDocument/2006/relationships/slideLayout" Target="../slideLayouts/slideLayout15.xml"/><Relationship Id="rId1" Type="http://schemas.openxmlformats.org/officeDocument/2006/relationships/tags" Target="../tags/tag9.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0D9BE53-0F3B-3EC4-58C8-18252DA2B731}"/>
              </a:ext>
            </a:extLst>
          </p:cNvPr>
          <p:cNvGraphicFramePr>
            <a:graphicFrameLocks noChangeAspect="1"/>
          </p:cNvGraphicFramePr>
          <p:nvPr>
            <p:custDataLst>
              <p:tags r:id="rId1"/>
            </p:custDataLst>
            <p:extLst>
              <p:ext uri="{D42A27DB-BD31-4B8C-83A1-F6EECF244321}">
                <p14:modId xmlns:p14="http://schemas.microsoft.com/office/powerpoint/2010/main" val="385149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noAutofit/>
          </a:bodyPr>
          <a:lstStyle/>
          <a:p>
            <a:r>
              <a:rPr lang="fr-CA" sz="4000"/>
              <a:t>Graphiques intéressants</a:t>
            </a:r>
          </a:p>
        </p:txBody>
      </p:sp>
      <p:sp>
        <p:nvSpPr>
          <p:cNvPr id="5" name="Date Placeholder 4"/>
          <p:cNvSpPr>
            <a:spLocks noGrp="1"/>
          </p:cNvSpPr>
          <p:nvPr>
            <p:ph type="dt" sz="half" idx="10"/>
          </p:nvPr>
        </p:nvSpPr>
        <p:spPr/>
        <p:txBody>
          <a:bodyPr/>
          <a:lstStyle/>
          <a:p>
            <a:r>
              <a:rPr lang="fr-CA"/>
              <a:t>Novembre 2024</a:t>
            </a:r>
          </a:p>
        </p:txBody>
      </p:sp>
    </p:spTree>
    <p:extLst>
      <p:ext uri="{BB962C8B-B14F-4D97-AF65-F5344CB8AC3E}">
        <p14:creationId xmlns:p14="http://schemas.microsoft.com/office/powerpoint/2010/main" val="1118114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05CA76-2E26-4887-055E-2C97908B4C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think-cell data - do not delete" hidden="1">
                        <a:extLst>
                          <a:ext uri="{FF2B5EF4-FFF2-40B4-BE49-F238E27FC236}">
                            <a16:creationId xmlns:a16="http://schemas.microsoft.com/office/drawing/2014/main" id="{3405CA76-2E26-4887-055E-2C97908B4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7C88B08-D806-9384-E01B-D5D4C7845921}"/>
              </a:ext>
            </a:extLst>
          </p:cNvPr>
          <p:cNvSpPr>
            <a:spLocks noGrp="1"/>
          </p:cNvSpPr>
          <p:nvPr>
            <p:ph type="sldNum" sz="quarter" idx="12"/>
          </p:nvPr>
        </p:nvSpPr>
        <p:spPr/>
        <p:txBody>
          <a:bodyPr/>
          <a:lstStyle/>
          <a:p>
            <a:fld id="{00D53123-EF31-4C08-A865-932FC064F9C8}" type="slidenum">
              <a:rPr lang="en-CA" smtClean="0"/>
              <a:t>2</a:t>
            </a:fld>
            <a:endParaRPr lang="en-CA"/>
          </a:p>
        </p:txBody>
      </p:sp>
      <p:sp>
        <p:nvSpPr>
          <p:cNvPr id="3" name="Text Placeholder 2">
            <a:extLst>
              <a:ext uri="{FF2B5EF4-FFF2-40B4-BE49-F238E27FC236}">
                <a16:creationId xmlns:a16="http://schemas.microsoft.com/office/drawing/2014/main" id="{989F2A47-8EDD-A32E-AE8D-CC1DE5EE4114}"/>
              </a:ext>
            </a:extLst>
          </p:cNvPr>
          <p:cNvSpPr>
            <a:spLocks noGrp="1"/>
          </p:cNvSpPr>
          <p:nvPr>
            <p:ph type="body" sz="quarter" idx="14"/>
          </p:nvPr>
        </p:nvSpPr>
        <p:spPr>
          <a:xfrm>
            <a:off x="685799" y="776606"/>
            <a:ext cx="10492273" cy="414019"/>
          </a:xfrm>
        </p:spPr>
        <p:txBody>
          <a:bodyPr>
            <a:normAutofit/>
          </a:bodyPr>
          <a:lstStyle/>
          <a:p>
            <a:r>
              <a:rPr lang="fr-CA" sz="1600"/>
              <a:t>Les taux préférentiels hypothécaires ont chuté parallèlement au taux du financement à un jour</a:t>
            </a:r>
          </a:p>
        </p:txBody>
      </p:sp>
      <p:sp>
        <p:nvSpPr>
          <p:cNvPr id="4" name="Title 3">
            <a:extLst>
              <a:ext uri="{FF2B5EF4-FFF2-40B4-BE49-F238E27FC236}">
                <a16:creationId xmlns:a16="http://schemas.microsoft.com/office/drawing/2014/main" id="{5E67F6BF-2639-1D02-9A6F-4823E31A0BE0}"/>
              </a:ext>
            </a:extLst>
          </p:cNvPr>
          <p:cNvSpPr>
            <a:spLocks noGrp="1"/>
          </p:cNvSpPr>
          <p:nvPr>
            <p:ph type="title"/>
          </p:nvPr>
        </p:nvSpPr>
        <p:spPr/>
        <p:txBody>
          <a:bodyPr vert="horz">
            <a:noAutofit/>
          </a:bodyPr>
          <a:lstStyle/>
          <a:p>
            <a:r>
              <a:rPr lang="fr-CA" sz="2400"/>
              <a:t>La Banque du Canada a continué de réduire les taux</a:t>
            </a:r>
          </a:p>
        </p:txBody>
      </p:sp>
      <p:sp>
        <p:nvSpPr>
          <p:cNvPr id="18" name="Rectangle 17">
            <a:extLst>
              <a:ext uri="{FF2B5EF4-FFF2-40B4-BE49-F238E27FC236}">
                <a16:creationId xmlns:a16="http://schemas.microsoft.com/office/drawing/2014/main" id="{47C424EC-FF7A-691A-8A15-29F657FADBF8}"/>
              </a:ext>
            </a:extLst>
          </p:cNvPr>
          <p:cNvSpPr/>
          <p:nvPr/>
        </p:nvSpPr>
        <p:spPr>
          <a:xfrm>
            <a:off x="685798" y="6112321"/>
            <a:ext cx="10659801" cy="214418"/>
          </a:xfrm>
          <a:prstGeom prst="rect">
            <a:avLst/>
          </a:prstGeom>
        </p:spPr>
        <p:txBody>
          <a:bodyPr wrap="square">
            <a:spAutoFit/>
          </a:bodyPr>
          <a:lstStyle/>
          <a:p>
            <a:pPr marL="0" marR="0">
              <a:lnSpc>
                <a:spcPct val="107000"/>
              </a:lnSpc>
              <a:spcBef>
                <a:spcPts val="0"/>
              </a:spcBef>
              <a:spcAft>
                <a:spcPts val="800"/>
              </a:spcAft>
            </a:pPr>
            <a:r>
              <a:rPr lang="fr-CA" sz="800" b="0" i="0" dirty="0">
                <a:solidFill>
                  <a:schemeClr val="tx1">
                    <a:lumMod val="50000"/>
                    <a:lumOff val="50000"/>
                  </a:schemeClr>
                </a:solidFill>
                <a:effectLst/>
                <a:latin typeface="Arial" panose="020B0604020202020204" pitchFamily="34" charset="0"/>
              </a:rPr>
              <a:t>Sources : RBC GMA, Bloomberg, Banque du Canada. Données du 1</a:t>
            </a:r>
            <a:r>
              <a:rPr lang="fr-CA" sz="800" b="0" i="0" baseline="30000" dirty="0">
                <a:solidFill>
                  <a:schemeClr val="tx1">
                    <a:lumMod val="50000"/>
                    <a:lumOff val="50000"/>
                  </a:schemeClr>
                </a:solidFill>
                <a:effectLst/>
                <a:latin typeface="Arial" panose="020B0604020202020204" pitchFamily="34" charset="0"/>
              </a:rPr>
              <a:t>er</a:t>
            </a:r>
            <a:r>
              <a:rPr lang="fr-CA" sz="800" b="0" i="0" dirty="0">
                <a:solidFill>
                  <a:schemeClr val="tx1">
                    <a:lumMod val="50000"/>
                    <a:lumOff val="50000"/>
                  </a:schemeClr>
                </a:solidFill>
                <a:effectLst/>
                <a:latin typeface="Arial" panose="020B0604020202020204" pitchFamily="34" charset="0"/>
              </a:rPr>
              <a:t> octobre 2004 au 1</a:t>
            </a:r>
            <a:r>
              <a:rPr lang="fr-CA" sz="800" b="0" i="0" baseline="30000" dirty="0">
                <a:solidFill>
                  <a:schemeClr val="tx1">
                    <a:lumMod val="50000"/>
                    <a:lumOff val="50000"/>
                  </a:schemeClr>
                </a:solidFill>
                <a:effectLst/>
                <a:latin typeface="Arial" panose="020B0604020202020204" pitchFamily="34" charset="0"/>
              </a:rPr>
              <a:t>er</a:t>
            </a:r>
            <a:r>
              <a:rPr lang="fr-CA" sz="800" b="0" i="0" dirty="0">
                <a:solidFill>
                  <a:schemeClr val="tx1">
                    <a:lumMod val="50000"/>
                    <a:lumOff val="50000"/>
                  </a:schemeClr>
                </a:solidFill>
                <a:effectLst/>
                <a:latin typeface="Arial" panose="020B0604020202020204" pitchFamily="34" charset="0"/>
              </a:rPr>
              <a:t> novembre 2024.</a:t>
            </a:r>
          </a:p>
        </p:txBody>
      </p:sp>
      <p:graphicFrame>
        <p:nvGraphicFramePr>
          <p:cNvPr id="6" name="Chart 5">
            <a:extLst>
              <a:ext uri="{FF2B5EF4-FFF2-40B4-BE49-F238E27FC236}">
                <a16:creationId xmlns:a16="http://schemas.microsoft.com/office/drawing/2014/main" id="{19D2563F-AB4E-95FE-0EDA-EEECA06E432D}"/>
              </a:ext>
            </a:extLst>
          </p:cNvPr>
          <p:cNvGraphicFramePr>
            <a:graphicFrameLocks/>
          </p:cNvGraphicFramePr>
          <p:nvPr/>
        </p:nvGraphicFramePr>
        <p:xfrm>
          <a:off x="685798" y="1288756"/>
          <a:ext cx="10492273" cy="4772709"/>
        </p:xfrm>
        <a:graphic>
          <a:graphicData uri="http://schemas.openxmlformats.org/drawingml/2006/chart">
            <c:chart xmlns:c="http://schemas.openxmlformats.org/drawingml/2006/chart" xmlns:r="http://schemas.openxmlformats.org/officeDocument/2006/relationships" r:id="rId6"/>
          </a:graphicData>
        </a:graphic>
      </p:graphicFrame>
      <p:sp>
        <p:nvSpPr>
          <p:cNvPr id="54" name="Rectangle 53"/>
          <p:cNvSpPr>
            <a:spLocks noChangeArrowheads="1"/>
          </p:cNvSpPr>
          <p:nvPr/>
        </p:nvSpPr>
        <p:spPr bwMode="auto">
          <a:xfrm>
            <a:off x="10820400" y="2905125"/>
            <a:ext cx="441811" cy="138499"/>
          </a:xfrm>
          <a:prstGeom prst="rect">
            <a:avLst/>
          </a:prstGeom>
          <a:solidFill>
            <a:schemeClr val="bg1"/>
          </a:solidFill>
          <a:ln>
            <a:noFill/>
          </a:ln>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900" b="1" i="0" u="none" strike="noStrike" cap="none" normalizeH="0" baseline="0">
                <a:ln>
                  <a:noFill/>
                </a:ln>
                <a:solidFill>
                  <a:srgbClr val="000000"/>
                </a:solidFill>
                <a:effectLst/>
                <a:latin typeface="Arial" panose="020B0604020202020204" pitchFamily="34" charset="0"/>
              </a:rPr>
              <a:t>5,95 %</a:t>
            </a:r>
          </a:p>
        </p:txBody>
      </p:sp>
      <p:sp>
        <p:nvSpPr>
          <p:cNvPr id="55" name="Rectangle 54"/>
          <p:cNvSpPr>
            <a:spLocks noChangeArrowheads="1"/>
          </p:cNvSpPr>
          <p:nvPr/>
        </p:nvSpPr>
        <p:spPr bwMode="auto">
          <a:xfrm>
            <a:off x="10820400" y="3938588"/>
            <a:ext cx="441811" cy="138499"/>
          </a:xfrm>
          <a:prstGeom prst="rect">
            <a:avLst/>
          </a:prstGeom>
          <a:solidFill>
            <a:schemeClr val="bg1"/>
          </a:solidFill>
          <a:ln>
            <a:noFill/>
          </a:ln>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900" b="1" i="0" u="none" strike="noStrike" cap="none" normalizeH="0" baseline="0" dirty="0">
                <a:ln>
                  <a:noFill/>
                </a:ln>
                <a:solidFill>
                  <a:srgbClr val="000000"/>
                </a:solidFill>
                <a:effectLst/>
                <a:latin typeface="Arial" panose="020B0604020202020204" pitchFamily="34" charset="0"/>
              </a:rPr>
              <a:t>3,75 %</a:t>
            </a:r>
          </a:p>
        </p:txBody>
      </p:sp>
      <p:sp>
        <p:nvSpPr>
          <p:cNvPr id="56" name="Rectangle 17"/>
          <p:cNvSpPr>
            <a:spLocks noChangeArrowheads="1"/>
          </p:cNvSpPr>
          <p:nvPr/>
        </p:nvSpPr>
        <p:spPr bwMode="auto">
          <a:xfrm>
            <a:off x="769938" y="5700713"/>
            <a:ext cx="214313" cy="152400"/>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900" b="0" i="0" u="none" strike="noStrike" cap="none" normalizeH="0" baseline="0">
                <a:ln>
                  <a:noFill/>
                </a:ln>
                <a:solidFill>
                  <a:srgbClr val="000000"/>
                </a:solidFill>
                <a:effectLst/>
                <a:latin typeface="Arial" panose="020B0604020202020204" pitchFamily="34" charset="0"/>
              </a:rPr>
              <a:t>0 %</a:t>
            </a:r>
          </a:p>
        </p:txBody>
      </p:sp>
      <p:sp>
        <p:nvSpPr>
          <p:cNvPr id="57" name="Rectangle 18"/>
          <p:cNvSpPr>
            <a:spLocks noChangeArrowheads="1"/>
          </p:cNvSpPr>
          <p:nvPr/>
        </p:nvSpPr>
        <p:spPr bwMode="auto">
          <a:xfrm>
            <a:off x="769938" y="5230813"/>
            <a:ext cx="214313" cy="152400"/>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900" b="0" i="0" u="none" strike="noStrike" cap="none" normalizeH="0" baseline="0">
                <a:ln>
                  <a:noFill/>
                </a:ln>
                <a:solidFill>
                  <a:srgbClr val="000000"/>
                </a:solidFill>
                <a:effectLst/>
                <a:latin typeface="Arial" panose="020B0604020202020204" pitchFamily="34" charset="0"/>
              </a:rPr>
              <a:t>1 %</a:t>
            </a:r>
          </a:p>
        </p:txBody>
      </p:sp>
      <p:sp>
        <p:nvSpPr>
          <p:cNvPr id="58" name="Rectangle 19"/>
          <p:cNvSpPr>
            <a:spLocks noChangeArrowheads="1"/>
          </p:cNvSpPr>
          <p:nvPr/>
        </p:nvSpPr>
        <p:spPr bwMode="auto">
          <a:xfrm>
            <a:off x="769938" y="4759325"/>
            <a:ext cx="214313" cy="152400"/>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900" b="0" i="0" u="none" strike="noStrike" cap="none" normalizeH="0" baseline="0">
                <a:ln>
                  <a:noFill/>
                </a:ln>
                <a:solidFill>
                  <a:srgbClr val="000000"/>
                </a:solidFill>
                <a:effectLst/>
                <a:latin typeface="Arial" panose="020B0604020202020204" pitchFamily="34" charset="0"/>
              </a:rPr>
              <a:t>2 %</a:t>
            </a:r>
          </a:p>
        </p:txBody>
      </p:sp>
      <p:sp>
        <p:nvSpPr>
          <p:cNvPr id="59" name="Rectangle 20"/>
          <p:cNvSpPr>
            <a:spLocks noChangeArrowheads="1"/>
          </p:cNvSpPr>
          <p:nvPr/>
        </p:nvSpPr>
        <p:spPr bwMode="auto">
          <a:xfrm>
            <a:off x="769938" y="4289425"/>
            <a:ext cx="214313" cy="152400"/>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900" b="0" i="0" u="none" strike="noStrike" cap="none" normalizeH="0" baseline="0">
                <a:ln>
                  <a:noFill/>
                </a:ln>
                <a:solidFill>
                  <a:srgbClr val="000000"/>
                </a:solidFill>
                <a:effectLst/>
                <a:latin typeface="Arial" panose="020B0604020202020204" pitchFamily="34" charset="0"/>
              </a:rPr>
              <a:t>3 %</a:t>
            </a:r>
          </a:p>
        </p:txBody>
      </p:sp>
      <p:sp>
        <p:nvSpPr>
          <p:cNvPr id="60" name="Rectangle 21"/>
          <p:cNvSpPr>
            <a:spLocks noChangeArrowheads="1"/>
          </p:cNvSpPr>
          <p:nvPr/>
        </p:nvSpPr>
        <p:spPr bwMode="auto">
          <a:xfrm>
            <a:off x="769938" y="3819525"/>
            <a:ext cx="214313" cy="153987"/>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900" b="0" i="0" u="none" strike="noStrike" cap="none" normalizeH="0" baseline="0">
                <a:ln>
                  <a:noFill/>
                </a:ln>
                <a:solidFill>
                  <a:srgbClr val="000000"/>
                </a:solidFill>
                <a:effectLst/>
                <a:latin typeface="Arial" panose="020B0604020202020204" pitchFamily="34" charset="0"/>
              </a:rPr>
              <a:t>4 %</a:t>
            </a:r>
          </a:p>
        </p:txBody>
      </p:sp>
      <p:sp>
        <p:nvSpPr>
          <p:cNvPr id="61" name="Rectangle 22"/>
          <p:cNvSpPr>
            <a:spLocks noChangeArrowheads="1"/>
          </p:cNvSpPr>
          <p:nvPr/>
        </p:nvSpPr>
        <p:spPr bwMode="auto">
          <a:xfrm>
            <a:off x="769938" y="3352800"/>
            <a:ext cx="214313" cy="152400"/>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900" b="0" i="0" u="none" strike="noStrike" cap="none" normalizeH="0" baseline="0">
                <a:ln>
                  <a:noFill/>
                </a:ln>
                <a:solidFill>
                  <a:srgbClr val="000000"/>
                </a:solidFill>
                <a:effectLst/>
                <a:latin typeface="Arial" panose="020B0604020202020204" pitchFamily="34" charset="0"/>
              </a:rPr>
              <a:t>5 %</a:t>
            </a:r>
          </a:p>
        </p:txBody>
      </p:sp>
      <p:sp>
        <p:nvSpPr>
          <p:cNvPr id="62" name="Rectangle 23"/>
          <p:cNvSpPr>
            <a:spLocks noChangeArrowheads="1"/>
          </p:cNvSpPr>
          <p:nvPr/>
        </p:nvSpPr>
        <p:spPr bwMode="auto">
          <a:xfrm>
            <a:off x="769938" y="2882900"/>
            <a:ext cx="214313" cy="152400"/>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900" b="0" i="0" u="none" strike="noStrike" cap="none" normalizeH="0" baseline="0">
                <a:ln>
                  <a:noFill/>
                </a:ln>
                <a:solidFill>
                  <a:srgbClr val="000000"/>
                </a:solidFill>
                <a:effectLst/>
                <a:latin typeface="Arial" panose="020B0604020202020204" pitchFamily="34" charset="0"/>
              </a:rPr>
              <a:t>6 %</a:t>
            </a:r>
          </a:p>
        </p:txBody>
      </p:sp>
      <p:sp>
        <p:nvSpPr>
          <p:cNvPr id="63" name="Rectangle 24"/>
          <p:cNvSpPr>
            <a:spLocks noChangeArrowheads="1"/>
          </p:cNvSpPr>
          <p:nvPr/>
        </p:nvSpPr>
        <p:spPr bwMode="auto">
          <a:xfrm>
            <a:off x="769938" y="2413000"/>
            <a:ext cx="214313" cy="152400"/>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900" b="0" i="0" u="none" strike="noStrike" cap="none" normalizeH="0" baseline="0">
                <a:ln>
                  <a:noFill/>
                </a:ln>
                <a:solidFill>
                  <a:srgbClr val="000000"/>
                </a:solidFill>
                <a:effectLst/>
                <a:latin typeface="Arial" panose="020B0604020202020204" pitchFamily="34" charset="0"/>
              </a:rPr>
              <a:t>7 %</a:t>
            </a:r>
          </a:p>
        </p:txBody>
      </p:sp>
      <p:sp>
        <p:nvSpPr>
          <p:cNvPr id="64" name="Rectangle 25"/>
          <p:cNvSpPr>
            <a:spLocks noChangeArrowheads="1"/>
          </p:cNvSpPr>
          <p:nvPr/>
        </p:nvSpPr>
        <p:spPr bwMode="auto">
          <a:xfrm>
            <a:off x="769938" y="1943100"/>
            <a:ext cx="214313" cy="152400"/>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900" b="0" i="0" u="none" strike="noStrike" cap="none" normalizeH="0" baseline="0">
                <a:ln>
                  <a:noFill/>
                </a:ln>
                <a:solidFill>
                  <a:srgbClr val="000000"/>
                </a:solidFill>
                <a:effectLst/>
                <a:latin typeface="Arial" panose="020B0604020202020204" pitchFamily="34" charset="0"/>
              </a:rPr>
              <a:t>8 %</a:t>
            </a:r>
          </a:p>
        </p:txBody>
      </p:sp>
      <p:sp>
        <p:nvSpPr>
          <p:cNvPr id="65" name="Rectangle 26"/>
          <p:cNvSpPr>
            <a:spLocks noChangeArrowheads="1"/>
          </p:cNvSpPr>
          <p:nvPr/>
        </p:nvSpPr>
        <p:spPr bwMode="auto">
          <a:xfrm>
            <a:off x="795035" y="5866528"/>
            <a:ext cx="448841" cy="123111"/>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800" b="0" i="0" u="none" strike="noStrike" cap="none" normalizeH="0" baseline="0" dirty="0">
                <a:ln>
                  <a:noFill/>
                </a:ln>
                <a:solidFill>
                  <a:srgbClr val="000000"/>
                </a:solidFill>
                <a:effectLst/>
                <a:latin typeface="Arial" panose="020B0604020202020204" pitchFamily="34" charset="0"/>
              </a:rPr>
              <a:t>Oct. 2004</a:t>
            </a:r>
          </a:p>
        </p:txBody>
      </p:sp>
      <p:sp>
        <p:nvSpPr>
          <p:cNvPr id="66" name="Rectangle 27"/>
          <p:cNvSpPr>
            <a:spLocks noChangeArrowheads="1"/>
          </p:cNvSpPr>
          <p:nvPr/>
        </p:nvSpPr>
        <p:spPr bwMode="auto">
          <a:xfrm>
            <a:off x="1292232" y="5866527"/>
            <a:ext cx="448841" cy="123111"/>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800" b="0" i="0" u="none" strike="noStrike" cap="none" normalizeH="0" baseline="0" dirty="0">
                <a:ln>
                  <a:noFill/>
                </a:ln>
                <a:solidFill>
                  <a:srgbClr val="000000"/>
                </a:solidFill>
                <a:effectLst/>
                <a:latin typeface="Arial" panose="020B0604020202020204" pitchFamily="34" charset="0"/>
              </a:rPr>
              <a:t>Oct. 2005</a:t>
            </a:r>
          </a:p>
        </p:txBody>
      </p:sp>
      <p:sp>
        <p:nvSpPr>
          <p:cNvPr id="67" name="Rectangle 28"/>
          <p:cNvSpPr>
            <a:spLocks noChangeArrowheads="1"/>
          </p:cNvSpPr>
          <p:nvPr/>
        </p:nvSpPr>
        <p:spPr bwMode="auto">
          <a:xfrm>
            <a:off x="1789775" y="5866528"/>
            <a:ext cx="448841" cy="123111"/>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800" b="0" i="0" u="none" strike="noStrike" cap="none" normalizeH="0" baseline="0" dirty="0">
                <a:ln>
                  <a:noFill/>
                </a:ln>
                <a:solidFill>
                  <a:srgbClr val="000000"/>
                </a:solidFill>
                <a:effectLst/>
                <a:latin typeface="Arial" panose="020B0604020202020204" pitchFamily="34" charset="0"/>
              </a:rPr>
              <a:t>Oct. 2006</a:t>
            </a:r>
          </a:p>
        </p:txBody>
      </p:sp>
      <p:sp>
        <p:nvSpPr>
          <p:cNvPr id="68" name="Rectangle 29"/>
          <p:cNvSpPr>
            <a:spLocks noChangeArrowheads="1"/>
          </p:cNvSpPr>
          <p:nvPr/>
        </p:nvSpPr>
        <p:spPr bwMode="auto">
          <a:xfrm>
            <a:off x="2285591" y="5866527"/>
            <a:ext cx="448841" cy="123111"/>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800" b="0" i="0" u="none" strike="noStrike" cap="none" normalizeH="0" baseline="0" dirty="0">
                <a:ln>
                  <a:noFill/>
                </a:ln>
                <a:solidFill>
                  <a:srgbClr val="000000"/>
                </a:solidFill>
                <a:effectLst/>
                <a:latin typeface="Arial" panose="020B0604020202020204" pitchFamily="34" charset="0"/>
              </a:rPr>
              <a:t>Oct. 2007</a:t>
            </a:r>
          </a:p>
        </p:txBody>
      </p:sp>
      <p:sp>
        <p:nvSpPr>
          <p:cNvPr id="69" name="Rectangle 30"/>
          <p:cNvSpPr>
            <a:spLocks noChangeArrowheads="1"/>
          </p:cNvSpPr>
          <p:nvPr/>
        </p:nvSpPr>
        <p:spPr bwMode="auto">
          <a:xfrm>
            <a:off x="2768191" y="5866526"/>
            <a:ext cx="448841" cy="123111"/>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800" b="0" i="0" u="none" strike="noStrike" cap="none" normalizeH="0" baseline="0" dirty="0">
                <a:ln>
                  <a:noFill/>
                </a:ln>
                <a:solidFill>
                  <a:srgbClr val="000000"/>
                </a:solidFill>
                <a:effectLst/>
                <a:latin typeface="Arial" panose="020B0604020202020204" pitchFamily="34" charset="0"/>
              </a:rPr>
              <a:t>Oct. 2008</a:t>
            </a:r>
          </a:p>
        </p:txBody>
      </p:sp>
      <p:sp>
        <p:nvSpPr>
          <p:cNvPr id="70" name="Rectangle 31"/>
          <p:cNvSpPr>
            <a:spLocks noChangeArrowheads="1"/>
          </p:cNvSpPr>
          <p:nvPr/>
        </p:nvSpPr>
        <p:spPr bwMode="auto">
          <a:xfrm>
            <a:off x="3258714" y="5866525"/>
            <a:ext cx="448841" cy="123111"/>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800" b="0" i="0" u="none" strike="noStrike" cap="none" normalizeH="0" baseline="0" dirty="0">
                <a:ln>
                  <a:noFill/>
                </a:ln>
                <a:solidFill>
                  <a:srgbClr val="000000"/>
                </a:solidFill>
                <a:effectLst/>
                <a:latin typeface="Arial" panose="020B0604020202020204" pitchFamily="34" charset="0"/>
              </a:rPr>
              <a:t>Oct. 2009</a:t>
            </a:r>
          </a:p>
        </p:txBody>
      </p:sp>
      <p:sp>
        <p:nvSpPr>
          <p:cNvPr id="71" name="Rectangle 32"/>
          <p:cNvSpPr>
            <a:spLocks noChangeArrowheads="1"/>
          </p:cNvSpPr>
          <p:nvPr/>
        </p:nvSpPr>
        <p:spPr bwMode="auto">
          <a:xfrm>
            <a:off x="3732541" y="5866524"/>
            <a:ext cx="448841" cy="123111"/>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800" b="0" i="0" u="none" strike="noStrike" cap="none" normalizeH="0" baseline="0" dirty="0">
                <a:ln>
                  <a:noFill/>
                </a:ln>
                <a:solidFill>
                  <a:srgbClr val="000000"/>
                </a:solidFill>
                <a:effectLst/>
                <a:latin typeface="Arial" panose="020B0604020202020204" pitchFamily="34" charset="0"/>
              </a:rPr>
              <a:t>Oct. 2010</a:t>
            </a:r>
          </a:p>
        </p:txBody>
      </p:sp>
      <p:sp>
        <p:nvSpPr>
          <p:cNvPr id="72" name="Rectangle 33"/>
          <p:cNvSpPr>
            <a:spLocks noChangeArrowheads="1"/>
          </p:cNvSpPr>
          <p:nvPr/>
        </p:nvSpPr>
        <p:spPr bwMode="auto">
          <a:xfrm>
            <a:off x="4231919" y="5866523"/>
            <a:ext cx="448841" cy="123111"/>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800" b="0" i="0" u="none" strike="noStrike" cap="none" normalizeH="0" baseline="0" dirty="0">
                <a:ln>
                  <a:noFill/>
                </a:ln>
                <a:solidFill>
                  <a:srgbClr val="000000"/>
                </a:solidFill>
                <a:effectLst/>
                <a:latin typeface="Arial" panose="020B0604020202020204" pitchFamily="34" charset="0"/>
              </a:rPr>
              <a:t>Oct. 2011</a:t>
            </a:r>
          </a:p>
        </p:txBody>
      </p:sp>
      <p:sp>
        <p:nvSpPr>
          <p:cNvPr id="73" name="Rectangle 34"/>
          <p:cNvSpPr>
            <a:spLocks noChangeArrowheads="1"/>
          </p:cNvSpPr>
          <p:nvPr/>
        </p:nvSpPr>
        <p:spPr bwMode="auto">
          <a:xfrm>
            <a:off x="4697579" y="5866522"/>
            <a:ext cx="448841" cy="123111"/>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800" b="0" i="0" u="none" strike="noStrike" cap="none" normalizeH="0" baseline="0" dirty="0">
                <a:ln>
                  <a:noFill/>
                </a:ln>
                <a:solidFill>
                  <a:srgbClr val="000000"/>
                </a:solidFill>
                <a:effectLst/>
                <a:latin typeface="Arial" panose="020B0604020202020204" pitchFamily="34" charset="0"/>
              </a:rPr>
              <a:t>Oct. 2012</a:t>
            </a:r>
          </a:p>
        </p:txBody>
      </p:sp>
      <p:sp>
        <p:nvSpPr>
          <p:cNvPr id="74" name="Rectangle 35"/>
          <p:cNvSpPr>
            <a:spLocks noChangeArrowheads="1"/>
          </p:cNvSpPr>
          <p:nvPr/>
        </p:nvSpPr>
        <p:spPr bwMode="auto">
          <a:xfrm>
            <a:off x="5200935" y="5866522"/>
            <a:ext cx="448841" cy="123111"/>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800" b="0" i="0" u="none" strike="noStrike" cap="none" normalizeH="0" baseline="0" dirty="0">
                <a:ln>
                  <a:noFill/>
                </a:ln>
                <a:solidFill>
                  <a:srgbClr val="000000"/>
                </a:solidFill>
                <a:effectLst/>
                <a:latin typeface="Arial" panose="020B0604020202020204" pitchFamily="34" charset="0"/>
              </a:rPr>
              <a:t>Oct. 2013</a:t>
            </a:r>
          </a:p>
        </p:txBody>
      </p:sp>
      <p:sp>
        <p:nvSpPr>
          <p:cNvPr id="75" name="Rectangle 36"/>
          <p:cNvSpPr>
            <a:spLocks noChangeArrowheads="1"/>
          </p:cNvSpPr>
          <p:nvPr/>
        </p:nvSpPr>
        <p:spPr bwMode="auto">
          <a:xfrm>
            <a:off x="5668638" y="5866522"/>
            <a:ext cx="448841" cy="123111"/>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800" b="0" i="0" u="none" strike="noStrike" cap="none" normalizeH="0" baseline="0" dirty="0">
                <a:ln>
                  <a:noFill/>
                </a:ln>
                <a:solidFill>
                  <a:srgbClr val="000000"/>
                </a:solidFill>
                <a:effectLst/>
                <a:latin typeface="Arial" panose="020B0604020202020204" pitchFamily="34" charset="0"/>
              </a:rPr>
              <a:t>Oct. 2014</a:t>
            </a:r>
          </a:p>
        </p:txBody>
      </p:sp>
      <p:sp>
        <p:nvSpPr>
          <p:cNvPr id="76" name="Rectangle 37"/>
          <p:cNvSpPr>
            <a:spLocks noChangeArrowheads="1"/>
          </p:cNvSpPr>
          <p:nvPr/>
        </p:nvSpPr>
        <p:spPr bwMode="auto">
          <a:xfrm>
            <a:off x="6158391" y="5866521"/>
            <a:ext cx="448841" cy="123111"/>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800" b="0" i="0" u="none" strike="noStrike" cap="none" normalizeH="0" baseline="0" dirty="0">
                <a:ln>
                  <a:noFill/>
                </a:ln>
                <a:solidFill>
                  <a:srgbClr val="000000"/>
                </a:solidFill>
                <a:effectLst/>
                <a:latin typeface="Arial" panose="020B0604020202020204" pitchFamily="34" charset="0"/>
              </a:rPr>
              <a:t>Oct. 2015</a:t>
            </a:r>
          </a:p>
        </p:txBody>
      </p:sp>
      <p:sp>
        <p:nvSpPr>
          <p:cNvPr id="77" name="Rectangle 38"/>
          <p:cNvSpPr>
            <a:spLocks noChangeArrowheads="1"/>
          </p:cNvSpPr>
          <p:nvPr/>
        </p:nvSpPr>
        <p:spPr bwMode="auto">
          <a:xfrm>
            <a:off x="6648144" y="5866520"/>
            <a:ext cx="448841" cy="123111"/>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800" b="0" i="0" u="none" strike="noStrike" cap="none" normalizeH="0" baseline="0" dirty="0">
                <a:ln>
                  <a:noFill/>
                </a:ln>
                <a:solidFill>
                  <a:srgbClr val="000000"/>
                </a:solidFill>
                <a:effectLst/>
                <a:latin typeface="Arial" panose="020B0604020202020204" pitchFamily="34" charset="0"/>
              </a:rPr>
              <a:t>Oct. 2016</a:t>
            </a:r>
          </a:p>
        </p:txBody>
      </p:sp>
      <p:sp>
        <p:nvSpPr>
          <p:cNvPr id="78" name="Rectangle 39"/>
          <p:cNvSpPr>
            <a:spLocks noChangeArrowheads="1"/>
          </p:cNvSpPr>
          <p:nvPr/>
        </p:nvSpPr>
        <p:spPr bwMode="auto">
          <a:xfrm>
            <a:off x="7129157" y="5866520"/>
            <a:ext cx="448841" cy="123111"/>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800" b="0" i="0" u="none" strike="noStrike" cap="none" normalizeH="0" baseline="0" dirty="0">
                <a:ln>
                  <a:noFill/>
                </a:ln>
                <a:solidFill>
                  <a:srgbClr val="000000"/>
                </a:solidFill>
                <a:effectLst/>
                <a:latin typeface="Arial" panose="020B0604020202020204" pitchFamily="34" charset="0"/>
              </a:rPr>
              <a:t>Oct. 2017</a:t>
            </a:r>
          </a:p>
        </p:txBody>
      </p:sp>
      <p:sp>
        <p:nvSpPr>
          <p:cNvPr id="79" name="Rectangle 40"/>
          <p:cNvSpPr>
            <a:spLocks noChangeArrowheads="1"/>
          </p:cNvSpPr>
          <p:nvPr/>
        </p:nvSpPr>
        <p:spPr bwMode="auto">
          <a:xfrm>
            <a:off x="7619203" y="5866519"/>
            <a:ext cx="448841" cy="123111"/>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800" b="0" i="0" u="none" strike="noStrike" cap="none" normalizeH="0" baseline="0" dirty="0">
                <a:ln>
                  <a:noFill/>
                </a:ln>
                <a:solidFill>
                  <a:srgbClr val="000000"/>
                </a:solidFill>
                <a:effectLst/>
                <a:latin typeface="Arial" panose="020B0604020202020204" pitchFamily="34" charset="0"/>
              </a:rPr>
              <a:t>Oct. 2018</a:t>
            </a:r>
          </a:p>
        </p:txBody>
      </p:sp>
      <p:sp>
        <p:nvSpPr>
          <p:cNvPr id="80" name="Rectangle 41"/>
          <p:cNvSpPr>
            <a:spLocks noChangeArrowheads="1"/>
          </p:cNvSpPr>
          <p:nvPr/>
        </p:nvSpPr>
        <p:spPr bwMode="auto">
          <a:xfrm>
            <a:off x="8098659" y="5866518"/>
            <a:ext cx="448841" cy="123111"/>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800" b="0" i="0" u="none" strike="noStrike" cap="none" normalizeH="0" baseline="0" dirty="0">
                <a:ln>
                  <a:noFill/>
                </a:ln>
                <a:solidFill>
                  <a:srgbClr val="000000"/>
                </a:solidFill>
                <a:effectLst/>
                <a:latin typeface="Arial" panose="020B0604020202020204" pitchFamily="34" charset="0"/>
              </a:rPr>
              <a:t>Oct. 2019</a:t>
            </a:r>
          </a:p>
        </p:txBody>
      </p:sp>
      <p:sp>
        <p:nvSpPr>
          <p:cNvPr id="81" name="Rectangle 42"/>
          <p:cNvSpPr>
            <a:spLocks noChangeArrowheads="1"/>
          </p:cNvSpPr>
          <p:nvPr/>
        </p:nvSpPr>
        <p:spPr bwMode="auto">
          <a:xfrm>
            <a:off x="8564319" y="5866517"/>
            <a:ext cx="448841" cy="123111"/>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800" b="0" i="0" u="none" strike="noStrike" cap="none" normalizeH="0" baseline="0" dirty="0">
                <a:ln>
                  <a:noFill/>
                </a:ln>
                <a:solidFill>
                  <a:srgbClr val="000000"/>
                </a:solidFill>
                <a:effectLst/>
                <a:latin typeface="Arial" panose="020B0604020202020204" pitchFamily="34" charset="0"/>
              </a:rPr>
              <a:t>Oct. 2020</a:t>
            </a:r>
          </a:p>
        </p:txBody>
      </p:sp>
      <p:sp>
        <p:nvSpPr>
          <p:cNvPr id="82" name="Rectangle 43"/>
          <p:cNvSpPr>
            <a:spLocks noChangeArrowheads="1"/>
          </p:cNvSpPr>
          <p:nvPr/>
        </p:nvSpPr>
        <p:spPr bwMode="auto">
          <a:xfrm>
            <a:off x="9061516" y="5867344"/>
            <a:ext cx="448841" cy="123111"/>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800" b="0" i="0" u="none" strike="noStrike" cap="none" normalizeH="0" baseline="0" dirty="0">
                <a:ln>
                  <a:noFill/>
                </a:ln>
                <a:solidFill>
                  <a:srgbClr val="000000"/>
                </a:solidFill>
                <a:effectLst/>
                <a:latin typeface="Arial" panose="020B0604020202020204" pitchFamily="34" charset="0"/>
              </a:rPr>
              <a:t>Oct. 2021</a:t>
            </a:r>
          </a:p>
        </p:txBody>
      </p:sp>
      <p:sp>
        <p:nvSpPr>
          <p:cNvPr id="83" name="Rectangle 44"/>
          <p:cNvSpPr>
            <a:spLocks noChangeArrowheads="1"/>
          </p:cNvSpPr>
          <p:nvPr/>
        </p:nvSpPr>
        <p:spPr bwMode="auto">
          <a:xfrm>
            <a:off x="9535085" y="5866516"/>
            <a:ext cx="448841" cy="123111"/>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800" b="0" i="0" u="none" strike="noStrike" cap="none" normalizeH="0" baseline="0" dirty="0">
                <a:ln>
                  <a:noFill/>
                </a:ln>
                <a:solidFill>
                  <a:srgbClr val="000000"/>
                </a:solidFill>
                <a:effectLst/>
                <a:latin typeface="Arial" panose="020B0604020202020204" pitchFamily="34" charset="0"/>
              </a:rPr>
              <a:t>Oct. 2022</a:t>
            </a:r>
          </a:p>
        </p:txBody>
      </p:sp>
      <p:sp>
        <p:nvSpPr>
          <p:cNvPr id="84" name="Rectangle 45"/>
          <p:cNvSpPr>
            <a:spLocks noChangeArrowheads="1"/>
          </p:cNvSpPr>
          <p:nvPr/>
        </p:nvSpPr>
        <p:spPr bwMode="auto">
          <a:xfrm>
            <a:off x="10031360" y="5866515"/>
            <a:ext cx="448841" cy="123111"/>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800" b="0" i="0" u="none" strike="noStrike" cap="none" normalizeH="0" baseline="0" dirty="0">
                <a:ln>
                  <a:noFill/>
                </a:ln>
                <a:solidFill>
                  <a:srgbClr val="000000"/>
                </a:solidFill>
                <a:effectLst/>
                <a:latin typeface="Arial" panose="020B0604020202020204" pitchFamily="34" charset="0"/>
              </a:rPr>
              <a:t>Oct. 2023</a:t>
            </a:r>
          </a:p>
        </p:txBody>
      </p:sp>
      <p:sp>
        <p:nvSpPr>
          <p:cNvPr id="85" name="Rectangle 46"/>
          <p:cNvSpPr>
            <a:spLocks noChangeArrowheads="1"/>
          </p:cNvSpPr>
          <p:nvPr/>
        </p:nvSpPr>
        <p:spPr bwMode="auto">
          <a:xfrm>
            <a:off x="10504587" y="5866514"/>
            <a:ext cx="448841" cy="123111"/>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800" b="0" i="0" u="none" strike="noStrike" cap="none" normalizeH="0" baseline="0" dirty="0">
                <a:ln>
                  <a:noFill/>
                </a:ln>
                <a:solidFill>
                  <a:srgbClr val="000000"/>
                </a:solidFill>
                <a:effectLst/>
                <a:latin typeface="Arial" panose="020B0604020202020204" pitchFamily="34" charset="0"/>
              </a:rPr>
              <a:t>Oct. 2024</a:t>
            </a:r>
          </a:p>
        </p:txBody>
      </p:sp>
      <p:sp>
        <p:nvSpPr>
          <p:cNvPr id="86" name="Rectangle 47"/>
          <p:cNvSpPr>
            <a:spLocks noChangeArrowheads="1"/>
          </p:cNvSpPr>
          <p:nvPr/>
        </p:nvSpPr>
        <p:spPr bwMode="auto">
          <a:xfrm>
            <a:off x="3860800" y="1368425"/>
            <a:ext cx="4244975" cy="280987"/>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600" b="1" i="0" u="none" strike="noStrike" cap="none" normalizeH="0" baseline="0">
                <a:ln>
                  <a:noFill/>
                </a:ln>
                <a:solidFill>
                  <a:srgbClr val="000000"/>
                </a:solidFill>
                <a:effectLst/>
                <a:latin typeface="Arial" panose="020B0604020202020204" pitchFamily="34" charset="0"/>
              </a:rPr>
              <a:t>Taux directeur de la BdC et taux préférentiel</a:t>
            </a:r>
          </a:p>
        </p:txBody>
      </p:sp>
      <p:sp>
        <p:nvSpPr>
          <p:cNvPr id="87" name="Rectangle 49"/>
          <p:cNvSpPr>
            <a:spLocks noChangeArrowheads="1"/>
          </p:cNvSpPr>
          <p:nvPr/>
        </p:nvSpPr>
        <p:spPr bwMode="auto">
          <a:xfrm>
            <a:off x="4749800" y="1728788"/>
            <a:ext cx="694489" cy="276999"/>
          </a:xfrm>
          <a:prstGeom prst="rect">
            <a:avLst/>
          </a:prstGeom>
          <a:solidFill>
            <a:schemeClr val="bg1"/>
          </a:solidFill>
          <a:ln>
            <a:noFill/>
          </a:ln>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900" b="0" i="0" u="none" strike="noStrike" cap="none" normalizeH="0" baseline="0" dirty="0">
                <a:ln>
                  <a:noFill/>
                </a:ln>
                <a:solidFill>
                  <a:srgbClr val="000000"/>
                </a:solidFill>
                <a:effectLst/>
                <a:latin typeface="Arial" panose="020B0604020202020204" pitchFamily="34" charset="0"/>
              </a:rPr>
              <a:t>Taux préférentiel</a:t>
            </a:r>
          </a:p>
        </p:txBody>
      </p:sp>
      <p:sp>
        <p:nvSpPr>
          <p:cNvPr id="88" name="Rectangle 51"/>
          <p:cNvSpPr>
            <a:spLocks noChangeArrowheads="1"/>
          </p:cNvSpPr>
          <p:nvPr/>
        </p:nvSpPr>
        <p:spPr bwMode="auto">
          <a:xfrm>
            <a:off x="5813425" y="1728788"/>
            <a:ext cx="1671638" cy="153987"/>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900" b="0" i="0" u="none" strike="noStrike" cap="none" normalizeH="0" baseline="0">
                <a:ln>
                  <a:noFill/>
                </a:ln>
                <a:solidFill>
                  <a:srgbClr val="000000"/>
                </a:solidFill>
                <a:effectLst/>
                <a:latin typeface="Arial" panose="020B0604020202020204" pitchFamily="34" charset="0"/>
              </a:rPr>
              <a:t>Taux du financement à un jour de la Banque du Canada</a:t>
            </a:r>
          </a:p>
        </p:txBody>
      </p:sp>
    </p:spTree>
    <p:extLst>
      <p:ext uri="{BB962C8B-B14F-4D97-AF65-F5344CB8AC3E}">
        <p14:creationId xmlns:p14="http://schemas.microsoft.com/office/powerpoint/2010/main" val="14510119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05CA76-2E26-4887-055E-2C97908B4C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think-cell data - do not delete" hidden="1">
                        <a:extLst>
                          <a:ext uri="{FF2B5EF4-FFF2-40B4-BE49-F238E27FC236}">
                            <a16:creationId xmlns:a16="http://schemas.microsoft.com/office/drawing/2014/main" id="{3405CA76-2E26-4887-055E-2C97908B4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7C88B08-D806-9384-E01B-D5D4C7845921}"/>
              </a:ext>
            </a:extLst>
          </p:cNvPr>
          <p:cNvSpPr>
            <a:spLocks noGrp="1"/>
          </p:cNvSpPr>
          <p:nvPr>
            <p:ph type="sldNum" sz="quarter" idx="12"/>
          </p:nvPr>
        </p:nvSpPr>
        <p:spPr/>
        <p:txBody>
          <a:bodyPr/>
          <a:lstStyle/>
          <a:p>
            <a:fld id="{00D53123-EF31-4C08-A865-932FC064F9C8}" type="slidenum">
              <a:rPr lang="en-CA" smtClean="0"/>
              <a:t>3</a:t>
            </a:fld>
            <a:endParaRPr lang="en-CA"/>
          </a:p>
        </p:txBody>
      </p:sp>
      <p:sp>
        <p:nvSpPr>
          <p:cNvPr id="3" name="Text Placeholder 2">
            <a:extLst>
              <a:ext uri="{FF2B5EF4-FFF2-40B4-BE49-F238E27FC236}">
                <a16:creationId xmlns:a16="http://schemas.microsoft.com/office/drawing/2014/main" id="{989F2A47-8EDD-A32E-AE8D-CC1DE5EE4114}"/>
              </a:ext>
            </a:extLst>
          </p:cNvPr>
          <p:cNvSpPr>
            <a:spLocks noGrp="1"/>
          </p:cNvSpPr>
          <p:nvPr>
            <p:ph type="body" sz="quarter" idx="14"/>
          </p:nvPr>
        </p:nvSpPr>
        <p:spPr>
          <a:xfrm>
            <a:off x="685799" y="776606"/>
            <a:ext cx="10492273" cy="414019"/>
          </a:xfrm>
        </p:spPr>
        <p:txBody>
          <a:bodyPr>
            <a:normAutofit/>
          </a:bodyPr>
          <a:lstStyle/>
          <a:p>
            <a:r>
              <a:rPr lang="fr-CA" sz="1600"/>
              <a:t>Depuis 2005, les actions canadiennes ont surpassé l’immobilier</a:t>
            </a:r>
          </a:p>
        </p:txBody>
      </p:sp>
      <p:sp>
        <p:nvSpPr>
          <p:cNvPr id="4" name="Title 3">
            <a:extLst>
              <a:ext uri="{FF2B5EF4-FFF2-40B4-BE49-F238E27FC236}">
                <a16:creationId xmlns:a16="http://schemas.microsoft.com/office/drawing/2014/main" id="{5E67F6BF-2639-1D02-9A6F-4823E31A0BE0}"/>
              </a:ext>
            </a:extLst>
          </p:cNvPr>
          <p:cNvSpPr>
            <a:spLocks noGrp="1"/>
          </p:cNvSpPr>
          <p:nvPr>
            <p:ph type="title"/>
          </p:nvPr>
        </p:nvSpPr>
        <p:spPr/>
        <p:txBody>
          <a:bodyPr vert="horz">
            <a:noAutofit/>
          </a:bodyPr>
          <a:lstStyle/>
          <a:p>
            <a:r>
              <a:rPr lang="fr-CA" sz="2400"/>
              <a:t>Le marché boursier canadien a surpassé le marché immobilier</a:t>
            </a:r>
          </a:p>
        </p:txBody>
      </p:sp>
      <p:sp>
        <p:nvSpPr>
          <p:cNvPr id="18" name="Rectangle 17">
            <a:extLst>
              <a:ext uri="{FF2B5EF4-FFF2-40B4-BE49-F238E27FC236}">
                <a16:creationId xmlns:a16="http://schemas.microsoft.com/office/drawing/2014/main" id="{47C424EC-FF7A-691A-8A15-29F657FADBF8}"/>
              </a:ext>
            </a:extLst>
          </p:cNvPr>
          <p:cNvSpPr/>
          <p:nvPr/>
        </p:nvSpPr>
        <p:spPr>
          <a:xfrm>
            <a:off x="602034" y="5912117"/>
            <a:ext cx="10659801" cy="461665"/>
          </a:xfrm>
          <a:prstGeom prst="rect">
            <a:avLst/>
          </a:prstGeom>
        </p:spPr>
        <p:txBody>
          <a:bodyPr wrap="square">
            <a:spAutoFit/>
          </a:bodyPr>
          <a:lstStyle/>
          <a:p>
            <a:pPr algn="l"/>
            <a:r>
              <a:rPr lang="fr-CA" sz="800" b="0" i="0">
                <a:solidFill>
                  <a:schemeClr val="tx1">
                    <a:lumMod val="50000"/>
                    <a:lumOff val="50000"/>
                  </a:schemeClr>
                </a:solidFill>
                <a:effectLst/>
                <a:latin typeface="Arial" panose="020B0604020202020204" pitchFamily="34" charset="0"/>
              </a:rPr>
              <a:t>Sources : RBC GMA, ACI, Morningstar. Les chiffres du Canada sont les résultats </a:t>
            </a:r>
            <a:r>
              <a:rPr lang="fr-CA" sz="800">
                <a:solidFill>
                  <a:schemeClr val="tx1">
                    <a:lumMod val="50000"/>
                    <a:lumOff val="50000"/>
                  </a:schemeClr>
                </a:solidFill>
                <a:latin typeface="Arial" panose="020B0604020202020204" pitchFamily="34" charset="0"/>
              </a:rPr>
              <a:t>consolidés de toutes les provinces dans l’Indice des prix des propriétés MLS (désaisonnalisé). Période du 1</a:t>
            </a:r>
            <a:r>
              <a:rPr lang="fr-CA" sz="800" baseline="30000">
                <a:solidFill>
                  <a:schemeClr val="tx1">
                    <a:lumMod val="50000"/>
                    <a:lumOff val="50000"/>
                  </a:schemeClr>
                </a:solidFill>
                <a:latin typeface="Arial" panose="020B0604020202020204" pitchFamily="34" charset="0"/>
              </a:rPr>
              <a:t>er</a:t>
            </a:r>
            <a:r>
              <a:rPr lang="fr-CA" sz="800">
                <a:solidFill>
                  <a:schemeClr val="tx1">
                    <a:lumMod val="50000"/>
                    <a:lumOff val="50000"/>
                  </a:schemeClr>
                </a:solidFill>
                <a:latin typeface="Arial" panose="020B0604020202020204" pitchFamily="34" charset="0"/>
              </a:rPr>
              <a:t> janvier 2005 au </a:t>
            </a:r>
            <a:r>
              <a:rPr lang="fr-CA" sz="800" b="0" i="0">
                <a:solidFill>
                  <a:schemeClr val="tx1">
                    <a:lumMod val="50000"/>
                    <a:lumOff val="50000"/>
                  </a:schemeClr>
                </a:solidFill>
                <a:effectLst/>
                <a:latin typeface="Arial" panose="020B0604020202020204" pitchFamily="34" charset="0"/>
              </a:rPr>
              <a:t>30 septembre 2024. Il est impossible d’investir directement dans un indice. Les données ne tiennent pas compte des frais liés aux opérations, des frais de gestion des placements et des taxes ou impôts. Si ces coûts et ces frais étaient pris en compte, les rendements seraient plus bas. Les rendements antérieurs ne sont pas garants des résultats futurs.</a:t>
            </a:r>
          </a:p>
        </p:txBody>
      </p:sp>
      <p:pic>
        <p:nvPicPr>
          <p:cNvPr id="6" name="Picture 5">
            <a:extLst>
              <a:ext uri="{FF2B5EF4-FFF2-40B4-BE49-F238E27FC236}">
                <a16:creationId xmlns:a16="http://schemas.microsoft.com/office/drawing/2014/main" id="{14A3F96F-D470-3AA8-93A7-AA793F115F49}"/>
              </a:ext>
            </a:extLst>
          </p:cNvPr>
          <p:cNvPicPr>
            <a:picLocks noChangeAspect="1"/>
          </p:cNvPicPr>
          <p:nvPr/>
        </p:nvPicPr>
        <p:blipFill>
          <a:blip r:embed="rId6"/>
          <a:stretch>
            <a:fillRect/>
          </a:stretch>
        </p:blipFill>
        <p:spPr>
          <a:xfrm>
            <a:off x="2050921" y="1349718"/>
            <a:ext cx="7594134" cy="4158563"/>
          </a:xfrm>
          <a:prstGeom prst="rect">
            <a:avLst/>
          </a:prstGeom>
        </p:spPr>
      </p:pic>
      <p:sp>
        <p:nvSpPr>
          <p:cNvPr id="8" name="TextBox 7">
            <a:extLst>
              <a:ext uri="{FF2B5EF4-FFF2-40B4-BE49-F238E27FC236}">
                <a16:creationId xmlns:a16="http://schemas.microsoft.com/office/drawing/2014/main" id="{970D2CE9-A019-0ED9-2C5D-F05CBF553220}"/>
              </a:ext>
            </a:extLst>
          </p:cNvPr>
          <p:cNvSpPr txBox="1"/>
          <p:nvPr/>
        </p:nvSpPr>
        <p:spPr>
          <a:xfrm>
            <a:off x="9113538" y="1526566"/>
            <a:ext cx="2055081" cy="6617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1" i="1" u="none" strike="noStrike" cap="none" normalizeH="0" baseline="0" noProof="0">
                <a:ln>
                  <a:noFill/>
                </a:ln>
                <a:solidFill>
                  <a:srgbClr val="000000"/>
                </a:solidFill>
                <a:effectLst/>
                <a:uLnTx/>
                <a:uFillTx/>
                <a:latin typeface="Arial Narrow" panose="020B0606020202030204" pitchFamily="34" charset="0"/>
                <a:ea typeface="+mn-ea"/>
                <a:cs typeface="+mn-cs"/>
              </a:rPr>
              <a:t>Indice composé S&amp;P/TS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1" u="none" strike="noStrike" cap="none" normalizeH="0" baseline="0" noProof="0">
                <a:ln>
                  <a:noFill/>
                </a:ln>
                <a:solidFill>
                  <a:srgbClr val="000000"/>
                </a:solidFill>
                <a:effectLst/>
                <a:uLnTx/>
                <a:uFillTx/>
                <a:latin typeface="Arial Narrow" panose="020B0606020202030204" pitchFamily="34" charset="0"/>
                <a:ea typeface="+mn-ea"/>
                <a:cs typeface="+mn-cs"/>
              </a:rPr>
              <a:t>+8,0 % par 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TextBox 8">
            <a:extLst>
              <a:ext uri="{FF2B5EF4-FFF2-40B4-BE49-F238E27FC236}">
                <a16:creationId xmlns:a16="http://schemas.microsoft.com/office/drawing/2014/main" id="{048F0593-51CC-DC09-5196-C3AF6DA1B0AE}"/>
              </a:ext>
            </a:extLst>
          </p:cNvPr>
          <p:cNvSpPr txBox="1"/>
          <p:nvPr/>
        </p:nvSpPr>
        <p:spPr>
          <a:xfrm>
            <a:off x="8937944" y="2598634"/>
            <a:ext cx="2046435"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1" i="0" u="none" strike="noStrike" cap="none" normalizeH="0" baseline="0" noProof="0">
                <a:ln>
                  <a:noFill/>
                </a:ln>
                <a:solidFill>
                  <a:srgbClr val="000000"/>
                </a:solidFill>
                <a:effectLst/>
                <a:uLnTx/>
                <a:uFillTx/>
                <a:latin typeface="Arial"/>
                <a:ea typeface="+mn-ea"/>
                <a:cs typeface="+mn-cs"/>
              </a:rPr>
              <a:t>Canad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1" u="none" strike="noStrike" cap="none" normalizeH="0" baseline="0" noProof="0">
                <a:ln>
                  <a:noFill/>
                </a:ln>
                <a:solidFill>
                  <a:srgbClr val="000000"/>
                </a:solidFill>
                <a:effectLst/>
                <a:uLnTx/>
                <a:uFillTx/>
                <a:latin typeface="Arial Narrow" panose="020B0606020202030204" pitchFamily="34" charset="0"/>
                <a:ea typeface="+mn-ea"/>
                <a:cs typeface="+mn-cs"/>
              </a:rPr>
              <a:t>+5,7 % par 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TextBox 7">
            <a:extLst>
              <a:ext uri="{FF2B5EF4-FFF2-40B4-BE49-F238E27FC236}">
                <a16:creationId xmlns:a16="http://schemas.microsoft.com/office/drawing/2014/main" id="{970D2CE9-A019-0ED9-2C5D-F05CBF553220}"/>
              </a:ext>
            </a:extLst>
          </p:cNvPr>
          <p:cNvSpPr txBox="1"/>
          <p:nvPr/>
        </p:nvSpPr>
        <p:spPr>
          <a:xfrm>
            <a:off x="4124288" y="1449622"/>
            <a:ext cx="3467869" cy="738664"/>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u="none" strike="noStrike" cap="none" normalizeH="0" baseline="0" noProof="0">
                <a:ln>
                  <a:noFill/>
                </a:ln>
                <a:solidFill>
                  <a:srgbClr val="000000"/>
                </a:solidFill>
                <a:effectLst/>
                <a:uLnTx/>
                <a:uFillTx/>
                <a:latin typeface="+mj-lt"/>
                <a:ea typeface="+mn-ea"/>
                <a:cs typeface="+mn-cs"/>
              </a:rPr>
              <a:t>Le marché canadien du log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u="none" strike="noStrike" cap="none" normalizeH="0" baseline="0" noProof="0">
                <a:ln>
                  <a:noFill/>
                </a:ln>
                <a:solidFill>
                  <a:srgbClr val="000000"/>
                </a:solidFill>
                <a:effectLst/>
                <a:uLnTx/>
                <a:uFillTx/>
                <a:latin typeface="+mj-lt"/>
                <a:ea typeface="+mn-ea"/>
                <a:cs typeface="+mn-cs"/>
              </a:rPr>
              <a:t>Croissance à long terme (2005-2024)</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u="none" strike="noStrike" kern="1200" cap="none" spc="0" normalizeH="0" baseline="0" noProof="0" dirty="0">
              <a:ln>
                <a:noFill/>
              </a:ln>
              <a:solidFill>
                <a:srgbClr val="000000"/>
              </a:solidFill>
              <a:effectLst/>
              <a:uLnTx/>
              <a:uFillTx/>
              <a:latin typeface="+mj-lt"/>
              <a:ea typeface="+mn-ea"/>
              <a:cs typeface="+mn-cs"/>
            </a:endParaRPr>
          </a:p>
        </p:txBody>
      </p:sp>
      <p:sp>
        <p:nvSpPr>
          <p:cNvPr id="16" name="TextBox 7">
            <a:extLst>
              <a:ext uri="{FF2B5EF4-FFF2-40B4-BE49-F238E27FC236}">
                <a16:creationId xmlns:a16="http://schemas.microsoft.com/office/drawing/2014/main" id="{970D2CE9-A019-0ED9-2C5D-F05CBF553220}"/>
              </a:ext>
            </a:extLst>
          </p:cNvPr>
          <p:cNvSpPr txBox="1"/>
          <p:nvPr/>
        </p:nvSpPr>
        <p:spPr>
          <a:xfrm>
            <a:off x="2496551" y="4469622"/>
            <a:ext cx="2069433" cy="1131079"/>
          </a:xfrm>
          <a:prstGeom prst="rect">
            <a:avLst/>
          </a:prstGeom>
          <a:solidFill>
            <a:schemeClr val="bg1"/>
          </a:solidFill>
        </p:spPr>
        <p:txBody>
          <a:bodyPr wrap="square" rtlCol="0">
            <a:spAutoFit/>
          </a:bodyPr>
          <a:lstStyle/>
          <a:p>
            <a:pPr marL="0" marR="0" lvl="0" indent="0" defTabSz="914400" rtl="0" eaLnBrk="1" fontAlgn="auto" latinLnBrk="0" hangingPunct="1">
              <a:lnSpc>
                <a:spcPct val="150000"/>
              </a:lnSpc>
              <a:spcBef>
                <a:spcPts val="0"/>
              </a:spcBef>
              <a:spcAft>
                <a:spcPts val="0"/>
              </a:spcAft>
              <a:buClrTx/>
              <a:buSzTx/>
              <a:buFontTx/>
              <a:buNone/>
              <a:tabLst/>
              <a:defRPr/>
            </a:pPr>
            <a:r>
              <a:rPr kumimoji="0" lang="fr-CA" sz="900" b="0" u="none" strike="noStrike" cap="none" normalizeH="0" baseline="0" noProof="0">
                <a:ln>
                  <a:noFill/>
                </a:ln>
                <a:solidFill>
                  <a:srgbClr val="000000"/>
                </a:solidFill>
                <a:effectLst/>
                <a:uLnTx/>
                <a:uFillTx/>
                <a:latin typeface="+mj-lt"/>
              </a:rPr>
              <a:t>Ontario</a:t>
            </a:r>
            <a:r>
              <a:rPr lang="fr-CA" sz="900">
                <a:solidFill>
                  <a:srgbClr val="000000"/>
                </a:solidFill>
                <a:latin typeface="+mj-lt"/>
              </a:rPr>
              <a:t> : 6,2 %</a:t>
            </a:r>
          </a:p>
          <a:p>
            <a:pPr marL="0" marR="0" lvl="0" indent="0" defTabSz="914400" rtl="0" eaLnBrk="1" fontAlgn="auto" latinLnBrk="0" hangingPunct="1">
              <a:lnSpc>
                <a:spcPct val="150000"/>
              </a:lnSpc>
              <a:spcBef>
                <a:spcPts val="0"/>
              </a:spcBef>
              <a:spcAft>
                <a:spcPts val="0"/>
              </a:spcAft>
              <a:buClrTx/>
              <a:buSzTx/>
              <a:buFontTx/>
              <a:buNone/>
              <a:tabLst/>
              <a:defRPr/>
            </a:pPr>
            <a:r>
              <a:rPr kumimoji="0" lang="fr-CA" sz="900" b="0" u="none" strike="noStrike" cap="none" normalizeH="0" baseline="0" noProof="0">
                <a:ln>
                  <a:noFill/>
                </a:ln>
                <a:solidFill>
                  <a:srgbClr val="000000"/>
                </a:solidFill>
                <a:effectLst/>
                <a:uLnTx/>
                <a:uFillTx/>
                <a:latin typeface="+mj-lt"/>
              </a:rPr>
              <a:t>Manitoba :</a:t>
            </a:r>
            <a:r>
              <a:rPr kumimoji="0" lang="fr-CA" sz="900" b="0" u="none" strike="noStrike" cap="none" normalizeH="0" noProof="0">
                <a:ln>
                  <a:noFill/>
                </a:ln>
                <a:solidFill>
                  <a:srgbClr val="000000"/>
                </a:solidFill>
                <a:effectLst/>
                <a:uLnTx/>
                <a:uFillTx/>
                <a:latin typeface="+mj-lt"/>
              </a:rPr>
              <a:t> 5,7 %</a:t>
            </a:r>
          </a:p>
          <a:p>
            <a:pPr marL="0" marR="0" lvl="0" indent="0" defTabSz="914400" rtl="0" eaLnBrk="1" fontAlgn="auto" latinLnBrk="0" hangingPunct="1">
              <a:lnSpc>
                <a:spcPct val="150000"/>
              </a:lnSpc>
              <a:spcBef>
                <a:spcPts val="0"/>
              </a:spcBef>
              <a:spcAft>
                <a:spcPts val="0"/>
              </a:spcAft>
              <a:buClrTx/>
              <a:buSzTx/>
              <a:buFontTx/>
              <a:buNone/>
              <a:tabLst/>
              <a:defRPr/>
            </a:pPr>
            <a:r>
              <a:rPr lang="fr-CA" sz="900" baseline="0">
                <a:solidFill>
                  <a:srgbClr val="000000"/>
                </a:solidFill>
                <a:latin typeface="+mj-lt"/>
              </a:rPr>
              <a:t>Nouveau</a:t>
            </a:r>
            <a:r>
              <a:rPr lang="fr-CA" sz="900">
                <a:solidFill>
                  <a:srgbClr val="000000"/>
                </a:solidFill>
                <a:latin typeface="+mj-lt"/>
              </a:rPr>
              <a:t>-Brunswick : 4,8 %</a:t>
            </a:r>
          </a:p>
          <a:p>
            <a:pPr marL="0" marR="0" lvl="0" indent="0" defTabSz="914400" rtl="0" eaLnBrk="1" fontAlgn="auto" latinLnBrk="0" hangingPunct="1">
              <a:lnSpc>
                <a:spcPct val="150000"/>
              </a:lnSpc>
              <a:spcBef>
                <a:spcPts val="0"/>
              </a:spcBef>
              <a:spcAft>
                <a:spcPts val="0"/>
              </a:spcAft>
              <a:buClrTx/>
              <a:buSzTx/>
              <a:buFontTx/>
              <a:buNone/>
              <a:tabLst/>
              <a:defRPr/>
            </a:pPr>
            <a:r>
              <a:rPr kumimoji="0" lang="fr-CA" sz="900" b="0" u="none" strike="noStrike" cap="none" normalizeH="0" baseline="0" noProof="0">
                <a:ln>
                  <a:noFill/>
                </a:ln>
                <a:solidFill>
                  <a:srgbClr val="000000"/>
                </a:solidFill>
                <a:effectLst/>
                <a:uLnTx/>
                <a:uFillTx/>
                <a:latin typeface="+mj-lt"/>
              </a:rPr>
              <a:t>Terre-Neuve</a:t>
            </a:r>
            <a:r>
              <a:rPr kumimoji="0" lang="fr-CA" sz="900" b="0" u="none" strike="noStrike" cap="none" normalizeH="0" noProof="0">
                <a:ln>
                  <a:noFill/>
                </a:ln>
                <a:solidFill>
                  <a:srgbClr val="000000"/>
                </a:solidFill>
                <a:effectLst/>
                <a:uLnTx/>
                <a:uFillTx/>
                <a:latin typeface="+mj-lt"/>
              </a:rPr>
              <a:t>-et-Labrador : 4,4 %</a:t>
            </a:r>
          </a:p>
          <a:p>
            <a:pPr marL="0" marR="0" lvl="0" indent="0" defTabSz="914400" rtl="0" eaLnBrk="1" fontAlgn="auto" latinLnBrk="0" hangingPunct="1">
              <a:lnSpc>
                <a:spcPct val="150000"/>
              </a:lnSpc>
              <a:spcBef>
                <a:spcPts val="0"/>
              </a:spcBef>
              <a:spcAft>
                <a:spcPts val="0"/>
              </a:spcAft>
              <a:buClrTx/>
              <a:buSzTx/>
              <a:buFontTx/>
              <a:buNone/>
              <a:tabLst/>
              <a:defRPr/>
            </a:pPr>
            <a:r>
              <a:rPr lang="fr-CA" sz="900" baseline="0">
                <a:solidFill>
                  <a:srgbClr val="000000"/>
                </a:solidFill>
                <a:latin typeface="+mj-lt"/>
              </a:rPr>
              <a:t>Canada :</a:t>
            </a:r>
            <a:r>
              <a:rPr lang="fr-CA" sz="900">
                <a:solidFill>
                  <a:srgbClr val="000000"/>
                </a:solidFill>
                <a:latin typeface="+mj-lt"/>
              </a:rPr>
              <a:t> 5,7 %</a:t>
            </a:r>
          </a:p>
        </p:txBody>
      </p:sp>
      <p:sp>
        <p:nvSpPr>
          <p:cNvPr id="17" name="TextBox 7">
            <a:extLst>
              <a:ext uri="{FF2B5EF4-FFF2-40B4-BE49-F238E27FC236}">
                <a16:creationId xmlns:a16="http://schemas.microsoft.com/office/drawing/2014/main" id="{970D2CE9-A019-0ED9-2C5D-F05CBF553220}"/>
              </a:ext>
            </a:extLst>
          </p:cNvPr>
          <p:cNvSpPr txBox="1"/>
          <p:nvPr/>
        </p:nvSpPr>
        <p:spPr>
          <a:xfrm>
            <a:off x="5012302" y="4469622"/>
            <a:ext cx="2069433" cy="1131079"/>
          </a:xfrm>
          <a:prstGeom prst="rect">
            <a:avLst/>
          </a:prstGeom>
          <a:solidFill>
            <a:schemeClr val="bg1"/>
          </a:solidFill>
        </p:spPr>
        <p:txBody>
          <a:bodyPr wrap="square" rtlCol="0">
            <a:spAutoFit/>
          </a:bodyPr>
          <a:lstStyle/>
          <a:p>
            <a:pPr marL="0" marR="0" lvl="0" indent="0" defTabSz="914400" rtl="0" eaLnBrk="1" fontAlgn="auto" latinLnBrk="0" hangingPunct="1">
              <a:lnSpc>
                <a:spcPct val="150000"/>
              </a:lnSpc>
              <a:spcBef>
                <a:spcPts val="0"/>
              </a:spcBef>
              <a:spcAft>
                <a:spcPts val="0"/>
              </a:spcAft>
              <a:buClrTx/>
              <a:buSzTx/>
              <a:buFontTx/>
              <a:buNone/>
              <a:tabLst/>
              <a:defRPr/>
            </a:pPr>
            <a:r>
              <a:rPr kumimoji="0" lang="fr-CA" sz="900" b="0" u="none" strike="noStrike" cap="none" normalizeH="0" baseline="0" noProof="0">
                <a:ln>
                  <a:noFill/>
                </a:ln>
                <a:solidFill>
                  <a:srgbClr val="000000"/>
                </a:solidFill>
                <a:effectLst/>
                <a:uLnTx/>
                <a:uFillTx/>
                <a:latin typeface="+mj-lt"/>
              </a:rPr>
              <a:t>Colombie-Britannique : 6,2 %</a:t>
            </a:r>
          </a:p>
          <a:p>
            <a:pPr marL="0" marR="0" lvl="0" indent="0" defTabSz="914400" rtl="0" eaLnBrk="1" fontAlgn="auto" latinLnBrk="0" hangingPunct="1">
              <a:lnSpc>
                <a:spcPct val="150000"/>
              </a:lnSpc>
              <a:spcBef>
                <a:spcPts val="0"/>
              </a:spcBef>
              <a:spcAft>
                <a:spcPts val="0"/>
              </a:spcAft>
              <a:buClrTx/>
              <a:buSzTx/>
              <a:buFontTx/>
              <a:buNone/>
              <a:tabLst/>
              <a:defRPr/>
            </a:pPr>
            <a:r>
              <a:rPr lang="fr-CA" sz="900">
                <a:solidFill>
                  <a:srgbClr val="000000"/>
                </a:solidFill>
                <a:latin typeface="+mj-lt"/>
              </a:rPr>
              <a:t>Saskatchewan : 5,8 %</a:t>
            </a:r>
          </a:p>
          <a:p>
            <a:pPr marL="0" marR="0" lvl="0" indent="0" defTabSz="914400" rtl="0" eaLnBrk="1" fontAlgn="auto" latinLnBrk="0" hangingPunct="1">
              <a:lnSpc>
                <a:spcPct val="150000"/>
              </a:lnSpc>
              <a:spcBef>
                <a:spcPts val="0"/>
              </a:spcBef>
              <a:spcAft>
                <a:spcPts val="0"/>
              </a:spcAft>
              <a:buClrTx/>
              <a:buSzTx/>
              <a:buFontTx/>
              <a:buNone/>
              <a:tabLst/>
              <a:defRPr/>
            </a:pPr>
            <a:r>
              <a:rPr kumimoji="0" lang="fr-CA" sz="900" b="0" u="none" strike="noStrike" cap="none" normalizeH="0" baseline="0" noProof="0">
                <a:ln>
                  <a:noFill/>
                </a:ln>
                <a:solidFill>
                  <a:srgbClr val="000000"/>
                </a:solidFill>
                <a:effectLst/>
                <a:uLnTx/>
                <a:uFillTx/>
                <a:latin typeface="+mj-lt"/>
              </a:rPr>
              <a:t>Nouvelle-Écosse : 5,5 %</a:t>
            </a:r>
          </a:p>
          <a:p>
            <a:pPr marL="0" marR="0" lvl="0" indent="0" defTabSz="914400" rtl="0" eaLnBrk="1" fontAlgn="auto" latinLnBrk="0" hangingPunct="1">
              <a:lnSpc>
                <a:spcPct val="150000"/>
              </a:lnSpc>
              <a:spcBef>
                <a:spcPts val="0"/>
              </a:spcBef>
              <a:spcAft>
                <a:spcPts val="0"/>
              </a:spcAft>
              <a:buClrTx/>
              <a:buSzTx/>
              <a:buFontTx/>
              <a:buNone/>
              <a:tabLst/>
              <a:defRPr/>
            </a:pPr>
            <a:r>
              <a:rPr lang="fr-CA" sz="900">
                <a:solidFill>
                  <a:srgbClr val="000000"/>
                </a:solidFill>
                <a:latin typeface="+mj-lt"/>
              </a:rPr>
              <a:t>Grand Vancouver : 6,3 %</a:t>
            </a:r>
          </a:p>
          <a:p>
            <a:pPr marL="0" marR="0" lvl="0" indent="0" defTabSz="914400" rtl="0" eaLnBrk="1" fontAlgn="auto" latinLnBrk="0" hangingPunct="1">
              <a:lnSpc>
                <a:spcPct val="150000"/>
              </a:lnSpc>
              <a:spcBef>
                <a:spcPts val="0"/>
              </a:spcBef>
              <a:spcAft>
                <a:spcPts val="0"/>
              </a:spcAft>
              <a:buClrTx/>
              <a:buSzTx/>
              <a:buFontTx/>
              <a:buNone/>
              <a:tabLst/>
              <a:defRPr/>
            </a:pPr>
            <a:r>
              <a:rPr kumimoji="0" lang="fr-CA" sz="900" b="0" u="none" strike="noStrike" cap="none" normalizeH="0" baseline="0" noProof="0">
                <a:ln>
                  <a:noFill/>
                </a:ln>
                <a:solidFill>
                  <a:srgbClr val="000000"/>
                </a:solidFill>
                <a:effectLst/>
                <a:uLnTx/>
                <a:uFillTx/>
                <a:latin typeface="+mj-lt"/>
              </a:rPr>
              <a:t>TSX :</a:t>
            </a:r>
            <a:r>
              <a:rPr kumimoji="0" lang="fr-CA" sz="900" b="0" u="none" strike="noStrike" cap="none" normalizeH="0" noProof="0">
                <a:ln>
                  <a:noFill/>
                </a:ln>
                <a:solidFill>
                  <a:srgbClr val="000000"/>
                </a:solidFill>
                <a:effectLst/>
                <a:uLnTx/>
                <a:uFillTx/>
                <a:latin typeface="+mj-lt"/>
              </a:rPr>
              <a:t> 8,0 %</a:t>
            </a:r>
          </a:p>
        </p:txBody>
      </p:sp>
      <p:sp>
        <p:nvSpPr>
          <p:cNvPr id="19" name="TextBox 7">
            <a:extLst>
              <a:ext uri="{FF2B5EF4-FFF2-40B4-BE49-F238E27FC236}">
                <a16:creationId xmlns:a16="http://schemas.microsoft.com/office/drawing/2014/main" id="{970D2CE9-A019-0ED9-2C5D-F05CBF553220}"/>
              </a:ext>
            </a:extLst>
          </p:cNvPr>
          <p:cNvSpPr txBox="1"/>
          <p:nvPr/>
        </p:nvSpPr>
        <p:spPr>
          <a:xfrm>
            <a:off x="7528053" y="4469622"/>
            <a:ext cx="2069433" cy="923330"/>
          </a:xfrm>
          <a:prstGeom prst="rect">
            <a:avLst/>
          </a:prstGeom>
          <a:solidFill>
            <a:schemeClr val="bg1"/>
          </a:solidFill>
        </p:spPr>
        <p:txBody>
          <a:bodyPr wrap="square" rtlCol="0">
            <a:spAutoFit/>
          </a:bodyPr>
          <a:lstStyle/>
          <a:p>
            <a:pPr marL="0" marR="0" lvl="0" indent="0" defTabSz="914400" rtl="0" eaLnBrk="1" fontAlgn="auto" latinLnBrk="0" hangingPunct="1">
              <a:lnSpc>
                <a:spcPct val="150000"/>
              </a:lnSpc>
              <a:spcBef>
                <a:spcPts val="0"/>
              </a:spcBef>
              <a:spcAft>
                <a:spcPts val="0"/>
              </a:spcAft>
              <a:buClrTx/>
              <a:buSzTx/>
              <a:buFontTx/>
              <a:buNone/>
              <a:tabLst/>
              <a:defRPr/>
            </a:pPr>
            <a:r>
              <a:rPr kumimoji="0" lang="fr-CA" sz="900" b="0" u="none" strike="noStrike" cap="none" normalizeH="0" baseline="0" noProof="0">
                <a:ln>
                  <a:noFill/>
                </a:ln>
                <a:solidFill>
                  <a:srgbClr val="000000"/>
                </a:solidFill>
                <a:effectLst/>
                <a:uLnTx/>
                <a:uFillTx/>
                <a:latin typeface="+mj-lt"/>
              </a:rPr>
              <a:t>Alberta : 4,8 %</a:t>
            </a:r>
          </a:p>
          <a:p>
            <a:pPr marL="0" marR="0" lvl="0" indent="0" defTabSz="914400" rtl="0" eaLnBrk="1" fontAlgn="auto" latinLnBrk="0" hangingPunct="1">
              <a:lnSpc>
                <a:spcPct val="150000"/>
              </a:lnSpc>
              <a:spcBef>
                <a:spcPts val="0"/>
              </a:spcBef>
              <a:spcAft>
                <a:spcPts val="0"/>
              </a:spcAft>
              <a:buClrTx/>
              <a:buSzTx/>
              <a:buFontTx/>
              <a:buNone/>
              <a:tabLst/>
              <a:defRPr/>
            </a:pPr>
            <a:r>
              <a:rPr lang="fr-CA" sz="900">
                <a:solidFill>
                  <a:srgbClr val="000000"/>
                </a:solidFill>
                <a:latin typeface="+mj-lt"/>
              </a:rPr>
              <a:t>Québec : 5,5 %</a:t>
            </a:r>
          </a:p>
          <a:p>
            <a:pPr marL="0" marR="0" lvl="0" indent="0" defTabSz="914400" rtl="0" eaLnBrk="1" fontAlgn="auto" latinLnBrk="0" hangingPunct="1">
              <a:lnSpc>
                <a:spcPct val="150000"/>
              </a:lnSpc>
              <a:spcBef>
                <a:spcPts val="0"/>
              </a:spcBef>
              <a:spcAft>
                <a:spcPts val="0"/>
              </a:spcAft>
              <a:buClrTx/>
              <a:buSzTx/>
              <a:buFontTx/>
              <a:buNone/>
              <a:tabLst/>
              <a:defRPr/>
            </a:pPr>
            <a:r>
              <a:rPr kumimoji="0" lang="fr-CA" sz="900" b="0" u="none" strike="noStrike" cap="none" normalizeH="0" baseline="0" noProof="0">
                <a:ln>
                  <a:noFill/>
                </a:ln>
                <a:solidFill>
                  <a:srgbClr val="000000"/>
                </a:solidFill>
                <a:effectLst/>
                <a:uLnTx/>
                <a:uFillTx/>
                <a:latin typeface="+mj-lt"/>
              </a:rPr>
              <a:t>Île</a:t>
            </a:r>
            <a:r>
              <a:rPr kumimoji="0" lang="fr-CA" sz="900" b="0" u="none" strike="noStrike" cap="none" normalizeH="0" noProof="0">
                <a:ln>
                  <a:noFill/>
                </a:ln>
                <a:solidFill>
                  <a:srgbClr val="000000"/>
                </a:solidFill>
                <a:effectLst/>
                <a:uLnTx/>
                <a:uFillTx/>
                <a:latin typeface="+mj-lt"/>
              </a:rPr>
              <a:t>-du-Prince-Édouard : 5,9 %</a:t>
            </a:r>
          </a:p>
          <a:p>
            <a:pPr marL="0" marR="0" lvl="0" indent="0" defTabSz="914400" rtl="0" eaLnBrk="1" fontAlgn="auto" latinLnBrk="0" hangingPunct="1">
              <a:lnSpc>
                <a:spcPct val="150000"/>
              </a:lnSpc>
              <a:spcBef>
                <a:spcPts val="0"/>
              </a:spcBef>
              <a:spcAft>
                <a:spcPts val="0"/>
              </a:spcAft>
              <a:buClrTx/>
              <a:buSzTx/>
              <a:buFontTx/>
              <a:buNone/>
              <a:tabLst/>
              <a:defRPr/>
            </a:pPr>
            <a:r>
              <a:rPr lang="fr-CA" sz="900" baseline="0">
                <a:solidFill>
                  <a:srgbClr val="000000"/>
                </a:solidFill>
                <a:latin typeface="+mj-lt"/>
              </a:rPr>
              <a:t>Grand</a:t>
            </a:r>
            <a:r>
              <a:rPr lang="fr-CA" sz="900">
                <a:solidFill>
                  <a:srgbClr val="000000"/>
                </a:solidFill>
                <a:latin typeface="+mj-lt"/>
              </a:rPr>
              <a:t> Toronto : 6,4 %</a:t>
            </a:r>
          </a:p>
        </p:txBody>
      </p:sp>
    </p:spTree>
    <p:extLst>
      <p:ext uri="{BB962C8B-B14F-4D97-AF65-F5344CB8AC3E}">
        <p14:creationId xmlns:p14="http://schemas.microsoft.com/office/powerpoint/2010/main" val="15439440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05CA76-2E26-4887-055E-2C97908B4C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think-cell data - do not delete" hidden="1">
                        <a:extLst>
                          <a:ext uri="{FF2B5EF4-FFF2-40B4-BE49-F238E27FC236}">
                            <a16:creationId xmlns:a16="http://schemas.microsoft.com/office/drawing/2014/main" id="{3405CA76-2E26-4887-055E-2C97908B4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7C88B08-D806-9384-E01B-D5D4C7845921}"/>
              </a:ext>
            </a:extLst>
          </p:cNvPr>
          <p:cNvSpPr>
            <a:spLocks noGrp="1"/>
          </p:cNvSpPr>
          <p:nvPr>
            <p:ph type="sldNum" sz="quarter" idx="12"/>
          </p:nvPr>
        </p:nvSpPr>
        <p:spPr/>
        <p:txBody>
          <a:bodyPr/>
          <a:lstStyle/>
          <a:p>
            <a:fld id="{00D53123-EF31-4C08-A865-932FC064F9C8}" type="slidenum">
              <a:rPr lang="en-CA" smtClean="0"/>
              <a:t>4</a:t>
            </a:fld>
            <a:endParaRPr lang="en-CA"/>
          </a:p>
        </p:txBody>
      </p:sp>
      <p:sp>
        <p:nvSpPr>
          <p:cNvPr id="3" name="Text Placeholder 2">
            <a:extLst>
              <a:ext uri="{FF2B5EF4-FFF2-40B4-BE49-F238E27FC236}">
                <a16:creationId xmlns:a16="http://schemas.microsoft.com/office/drawing/2014/main" id="{989F2A47-8EDD-A32E-AE8D-CC1DE5EE4114}"/>
              </a:ext>
            </a:extLst>
          </p:cNvPr>
          <p:cNvSpPr>
            <a:spLocks noGrp="1"/>
          </p:cNvSpPr>
          <p:nvPr>
            <p:ph type="body" sz="quarter" idx="14"/>
          </p:nvPr>
        </p:nvSpPr>
        <p:spPr>
          <a:xfrm>
            <a:off x="685799" y="776606"/>
            <a:ext cx="10492273" cy="414019"/>
          </a:xfrm>
        </p:spPr>
        <p:txBody>
          <a:bodyPr>
            <a:normAutofit/>
          </a:bodyPr>
          <a:lstStyle/>
          <a:p>
            <a:r>
              <a:rPr lang="fr-CA" sz="1600"/>
              <a:t>Les actifs à risque ont récompensé les investisseurs depuis la première baisse de taux de la BdC cette année</a:t>
            </a:r>
          </a:p>
        </p:txBody>
      </p:sp>
      <p:sp>
        <p:nvSpPr>
          <p:cNvPr id="4" name="Title 3">
            <a:extLst>
              <a:ext uri="{FF2B5EF4-FFF2-40B4-BE49-F238E27FC236}">
                <a16:creationId xmlns:a16="http://schemas.microsoft.com/office/drawing/2014/main" id="{5E67F6BF-2639-1D02-9A6F-4823E31A0BE0}"/>
              </a:ext>
            </a:extLst>
          </p:cNvPr>
          <p:cNvSpPr>
            <a:spLocks noGrp="1"/>
          </p:cNvSpPr>
          <p:nvPr>
            <p:ph type="title"/>
          </p:nvPr>
        </p:nvSpPr>
        <p:spPr/>
        <p:txBody>
          <a:bodyPr vert="horz">
            <a:noAutofit/>
          </a:bodyPr>
          <a:lstStyle/>
          <a:p>
            <a:r>
              <a:rPr lang="fr-CA" sz="2400"/>
              <a:t>Les actifs canadiens ont repris de la vigueur depuis la première baisse de taux de la BdC</a:t>
            </a:r>
          </a:p>
        </p:txBody>
      </p:sp>
      <p:sp>
        <p:nvSpPr>
          <p:cNvPr id="18" name="Rectangle 17">
            <a:extLst>
              <a:ext uri="{FF2B5EF4-FFF2-40B4-BE49-F238E27FC236}">
                <a16:creationId xmlns:a16="http://schemas.microsoft.com/office/drawing/2014/main" id="{47C424EC-FF7A-691A-8A15-29F657FADBF8}"/>
              </a:ext>
            </a:extLst>
          </p:cNvPr>
          <p:cNvSpPr/>
          <p:nvPr/>
        </p:nvSpPr>
        <p:spPr>
          <a:xfrm>
            <a:off x="598223" y="5781141"/>
            <a:ext cx="10659801" cy="711733"/>
          </a:xfrm>
          <a:prstGeom prst="rect">
            <a:avLst/>
          </a:prstGeom>
        </p:spPr>
        <p:txBody>
          <a:bodyPr wrap="square">
            <a:spAutoFit/>
          </a:bodyPr>
          <a:lstStyle/>
          <a:p>
            <a:pPr>
              <a:lnSpc>
                <a:spcPct val="107000"/>
              </a:lnSpc>
              <a:spcAft>
                <a:spcPts val="800"/>
              </a:spcAft>
            </a:pPr>
            <a:r>
              <a:rPr lang="fr-CA" sz="800">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Sources : RBC GMA, Bloomberg. Les liquidités sont représentées par l’indice des bons du Trésor à 91 jours FTSE Canada. Les obligations sont représentées par l’indice des obligations universelles FTSE Canada. Les actions sont représentées par l’indice S&amp;P/TSX. Tous les rendements sont cumulatifs entre le 5 juin et le 31 octobre 2024. </a:t>
            </a:r>
            <a:r>
              <a:rPr lang="fr-CA" sz="800" b="0" i="0">
                <a:solidFill>
                  <a:schemeClr val="tx1">
                    <a:lumMod val="50000"/>
                    <a:lumOff val="50000"/>
                  </a:schemeClr>
                </a:solidFill>
                <a:effectLst/>
                <a:latin typeface="Arial" panose="020B0604020202020204" pitchFamily="34" charset="0"/>
                <a:ea typeface="Calibri" panose="020F0502020204030204" pitchFamily="34" charset="0"/>
                <a:cs typeface="Times New Roman" panose="02020603050405020304" pitchFamily="18" charset="0"/>
              </a:rPr>
              <a:t>Il est impossible d’investir directement dans un indice. Les données ne tiennent pas compte des frais liés aux opérations, des frais de gestion des placements et des taxes ou impôts. Si ces coûts et ces frais étaient pris en compte, les rendements seraient plus bas. Les rendements antérieurs ne sont pas garants des résultats futurs.</a:t>
            </a:r>
          </a:p>
          <a:p>
            <a:pPr marL="0" marR="0">
              <a:lnSpc>
                <a:spcPct val="107000"/>
              </a:lnSpc>
              <a:spcBef>
                <a:spcPts val="0"/>
              </a:spcBef>
              <a:spcAft>
                <a:spcPts val="800"/>
              </a:spcAft>
            </a:pPr>
            <a:endParaRPr lang="en-US" sz="800" kern="100" dirty="0">
              <a:solidFill>
                <a:schemeClr val="tx1">
                  <a:lumMod val="50000"/>
                  <a:lumOff val="50000"/>
                </a:schemeClr>
              </a:solidFill>
              <a:effectLst/>
              <a:latin typeface="Arial Narrow" panose="020B0606020202030204" pitchFamily="34" charset="0"/>
              <a:ea typeface="Calibri" panose="020F0502020204030204" pitchFamily="34" charset="0"/>
              <a:cs typeface="Times New Roman" panose="02020603050405020304" pitchFamily="18" charset="0"/>
            </a:endParaRPr>
          </a:p>
        </p:txBody>
      </p:sp>
      <p:graphicFrame>
        <p:nvGraphicFramePr>
          <p:cNvPr id="8" name="Chart 7">
            <a:extLst>
              <a:ext uri="{FF2B5EF4-FFF2-40B4-BE49-F238E27FC236}">
                <a16:creationId xmlns:a16="http://schemas.microsoft.com/office/drawing/2014/main" id="{F30871DC-020C-A605-3E16-663270BC9992}"/>
              </a:ext>
            </a:extLst>
          </p:cNvPr>
          <p:cNvGraphicFramePr>
            <a:graphicFrameLocks/>
          </p:cNvGraphicFramePr>
          <p:nvPr/>
        </p:nvGraphicFramePr>
        <p:xfrm>
          <a:off x="598223" y="1368747"/>
          <a:ext cx="10579849" cy="4412394"/>
        </p:xfrm>
        <a:graphic>
          <a:graphicData uri="http://schemas.openxmlformats.org/drawingml/2006/chart">
            <c:chart xmlns:c="http://schemas.openxmlformats.org/drawingml/2006/chart" xmlns:r="http://schemas.openxmlformats.org/officeDocument/2006/relationships" r:id="rId6"/>
          </a:graphicData>
        </a:graphic>
      </p:graphicFrame>
      <p:sp>
        <p:nvSpPr>
          <p:cNvPr id="22" name="Rectangle 11"/>
          <p:cNvSpPr>
            <a:spLocks noChangeArrowheads="1"/>
          </p:cNvSpPr>
          <p:nvPr/>
        </p:nvSpPr>
        <p:spPr bwMode="auto">
          <a:xfrm>
            <a:off x="2300872" y="4738658"/>
            <a:ext cx="262892" cy="138499"/>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900" b="0" i="0" u="none" strike="noStrike" cap="none" normalizeH="0" baseline="0">
                <a:ln>
                  <a:noFill/>
                </a:ln>
                <a:solidFill>
                  <a:srgbClr val="000000"/>
                </a:solidFill>
                <a:effectLst/>
                <a:latin typeface="Arial" panose="020B0604020202020204" pitchFamily="34" charset="0"/>
              </a:rPr>
              <a:t>2,1 %</a:t>
            </a:r>
          </a:p>
        </p:txBody>
      </p:sp>
      <p:sp>
        <p:nvSpPr>
          <p:cNvPr id="23" name="Rectangle 12"/>
          <p:cNvSpPr>
            <a:spLocks noChangeArrowheads="1"/>
          </p:cNvSpPr>
          <p:nvPr/>
        </p:nvSpPr>
        <p:spPr bwMode="auto">
          <a:xfrm>
            <a:off x="5734635" y="3960783"/>
            <a:ext cx="262892" cy="138499"/>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900" b="0" i="0" u="none" strike="noStrike" cap="none" normalizeH="0" baseline="0">
                <a:ln>
                  <a:noFill/>
                </a:ln>
                <a:solidFill>
                  <a:srgbClr val="000000"/>
                </a:solidFill>
                <a:effectLst/>
                <a:latin typeface="Arial" panose="020B0604020202020204" pitchFamily="34" charset="0"/>
              </a:rPr>
              <a:t>4,8 %</a:t>
            </a:r>
          </a:p>
        </p:txBody>
      </p:sp>
      <p:sp>
        <p:nvSpPr>
          <p:cNvPr id="24" name="Rectangle 13"/>
          <p:cNvSpPr>
            <a:spLocks noChangeArrowheads="1"/>
          </p:cNvSpPr>
          <p:nvPr/>
        </p:nvSpPr>
        <p:spPr bwMode="auto">
          <a:xfrm>
            <a:off x="9136647" y="2078008"/>
            <a:ext cx="327013" cy="138499"/>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900" b="0" i="0" u="none" strike="noStrike" cap="none" normalizeH="0" baseline="0">
                <a:ln>
                  <a:noFill/>
                </a:ln>
                <a:solidFill>
                  <a:srgbClr val="000000"/>
                </a:solidFill>
                <a:effectLst/>
                <a:latin typeface="Arial" panose="020B0604020202020204" pitchFamily="34" charset="0"/>
              </a:rPr>
              <a:t>11,3 %</a:t>
            </a:r>
          </a:p>
        </p:txBody>
      </p:sp>
      <p:sp>
        <p:nvSpPr>
          <p:cNvPr id="25" name="Rectangle 14"/>
          <p:cNvSpPr>
            <a:spLocks noChangeArrowheads="1"/>
          </p:cNvSpPr>
          <p:nvPr/>
        </p:nvSpPr>
        <p:spPr bwMode="auto">
          <a:xfrm>
            <a:off x="2299285" y="5583208"/>
            <a:ext cx="315912" cy="152400"/>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900" b="0" i="0" u="none" strike="noStrike" cap="none" normalizeH="0" baseline="0">
                <a:ln>
                  <a:noFill/>
                </a:ln>
                <a:solidFill>
                  <a:srgbClr val="000000"/>
                </a:solidFill>
                <a:effectLst/>
                <a:latin typeface="Arial" panose="020B0604020202020204" pitchFamily="34" charset="0"/>
              </a:rPr>
              <a:t>Liquidités</a:t>
            </a:r>
          </a:p>
        </p:txBody>
      </p:sp>
      <p:sp>
        <p:nvSpPr>
          <p:cNvPr id="26" name="Rectangle 15"/>
          <p:cNvSpPr>
            <a:spLocks noChangeArrowheads="1"/>
          </p:cNvSpPr>
          <p:nvPr/>
        </p:nvSpPr>
        <p:spPr bwMode="auto">
          <a:xfrm>
            <a:off x="5704472" y="5583208"/>
            <a:ext cx="373062" cy="152400"/>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900" b="0" i="0" u="none" strike="noStrike" cap="none" normalizeH="0" baseline="0">
                <a:ln>
                  <a:noFill/>
                </a:ln>
                <a:solidFill>
                  <a:srgbClr val="000000"/>
                </a:solidFill>
                <a:effectLst/>
                <a:latin typeface="Arial" panose="020B0604020202020204" pitchFamily="34" charset="0"/>
              </a:rPr>
              <a:t>Obligations</a:t>
            </a:r>
          </a:p>
        </p:txBody>
      </p:sp>
      <p:sp>
        <p:nvSpPr>
          <p:cNvPr id="27" name="Rectangle 16"/>
          <p:cNvSpPr>
            <a:spLocks noChangeArrowheads="1"/>
          </p:cNvSpPr>
          <p:nvPr/>
        </p:nvSpPr>
        <p:spPr bwMode="auto">
          <a:xfrm>
            <a:off x="9128710" y="5583208"/>
            <a:ext cx="392112" cy="152400"/>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900" b="0" i="0" u="none" strike="noStrike" cap="none" normalizeH="0" baseline="0">
                <a:ln>
                  <a:noFill/>
                </a:ln>
                <a:solidFill>
                  <a:srgbClr val="000000"/>
                </a:solidFill>
                <a:effectLst/>
                <a:latin typeface="Arial" panose="020B0604020202020204" pitchFamily="34" charset="0"/>
              </a:rPr>
              <a:t>Actions</a:t>
            </a:r>
          </a:p>
        </p:txBody>
      </p:sp>
      <p:sp>
        <p:nvSpPr>
          <p:cNvPr id="28" name="Rectangle 17"/>
          <p:cNvSpPr>
            <a:spLocks noChangeArrowheads="1"/>
          </p:cNvSpPr>
          <p:nvPr/>
        </p:nvSpPr>
        <p:spPr bwMode="auto">
          <a:xfrm>
            <a:off x="3059697" y="1476345"/>
            <a:ext cx="5710237" cy="280988"/>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600" b="1" i="0" u="none" strike="noStrike" cap="none" normalizeH="0" baseline="0">
                <a:ln>
                  <a:noFill/>
                </a:ln>
                <a:solidFill>
                  <a:srgbClr val="000000"/>
                </a:solidFill>
                <a:effectLst/>
                <a:latin typeface="Arial" panose="020B0604020202020204" pitchFamily="34" charset="0"/>
              </a:rPr>
              <a:t>Rendements cumulatifs des actifs canadiens depuis la première baisse de la BdC</a:t>
            </a:r>
          </a:p>
        </p:txBody>
      </p:sp>
      <p:sp>
        <p:nvSpPr>
          <p:cNvPr id="29" name="Rectangle 18"/>
          <p:cNvSpPr>
            <a:spLocks noChangeArrowheads="1"/>
          </p:cNvSpPr>
          <p:nvPr/>
        </p:nvSpPr>
        <p:spPr bwMode="auto">
          <a:xfrm>
            <a:off x="5169485" y="1709708"/>
            <a:ext cx="1582737" cy="265113"/>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400" b="1" i="0" u="none" strike="noStrike" cap="none" normalizeH="0" baseline="0">
                <a:ln>
                  <a:noFill/>
                </a:ln>
                <a:solidFill>
                  <a:srgbClr val="000000"/>
                </a:solidFill>
                <a:effectLst/>
                <a:latin typeface="Arial" panose="020B0604020202020204" pitchFamily="34" charset="0"/>
              </a:rPr>
              <a:t>(du 5 juin au 31 octobre)</a:t>
            </a:r>
          </a:p>
        </p:txBody>
      </p:sp>
    </p:spTree>
    <p:extLst>
      <p:ext uri="{BB962C8B-B14F-4D97-AF65-F5344CB8AC3E}">
        <p14:creationId xmlns:p14="http://schemas.microsoft.com/office/powerpoint/2010/main" val="26887142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05CA76-2E26-4887-055E-2C97908B4C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think-cell data - do not delete" hidden="1">
                        <a:extLst>
                          <a:ext uri="{FF2B5EF4-FFF2-40B4-BE49-F238E27FC236}">
                            <a16:creationId xmlns:a16="http://schemas.microsoft.com/office/drawing/2014/main" id="{3405CA76-2E26-4887-055E-2C97908B4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7C88B08-D806-9384-E01B-D5D4C7845921}"/>
              </a:ext>
            </a:extLst>
          </p:cNvPr>
          <p:cNvSpPr>
            <a:spLocks noGrp="1"/>
          </p:cNvSpPr>
          <p:nvPr>
            <p:ph type="sldNum" sz="quarter" idx="12"/>
          </p:nvPr>
        </p:nvSpPr>
        <p:spPr/>
        <p:txBody>
          <a:bodyPr/>
          <a:lstStyle/>
          <a:p>
            <a:fld id="{00D53123-EF31-4C08-A865-932FC064F9C8}" type="slidenum">
              <a:rPr lang="en-CA" smtClean="0"/>
              <a:t>5</a:t>
            </a:fld>
            <a:endParaRPr lang="en-CA"/>
          </a:p>
        </p:txBody>
      </p:sp>
      <p:sp>
        <p:nvSpPr>
          <p:cNvPr id="3" name="Text Placeholder 2">
            <a:extLst>
              <a:ext uri="{FF2B5EF4-FFF2-40B4-BE49-F238E27FC236}">
                <a16:creationId xmlns:a16="http://schemas.microsoft.com/office/drawing/2014/main" id="{989F2A47-8EDD-A32E-AE8D-CC1DE5EE4114}"/>
              </a:ext>
            </a:extLst>
          </p:cNvPr>
          <p:cNvSpPr>
            <a:spLocks noGrp="1"/>
          </p:cNvSpPr>
          <p:nvPr>
            <p:ph type="body" sz="quarter" idx="14"/>
          </p:nvPr>
        </p:nvSpPr>
        <p:spPr>
          <a:xfrm>
            <a:off x="685799" y="776606"/>
            <a:ext cx="10492273" cy="414019"/>
          </a:xfrm>
        </p:spPr>
        <p:txBody>
          <a:bodyPr>
            <a:normAutofit/>
          </a:bodyPr>
          <a:lstStyle/>
          <a:p>
            <a:r>
              <a:rPr lang="fr-CA" sz="1600"/>
              <a:t>Les baisses de taux ont stimulé le rendement des obligations au cours de la dernière année</a:t>
            </a:r>
          </a:p>
        </p:txBody>
      </p:sp>
      <p:sp>
        <p:nvSpPr>
          <p:cNvPr id="4" name="Title 3">
            <a:extLst>
              <a:ext uri="{FF2B5EF4-FFF2-40B4-BE49-F238E27FC236}">
                <a16:creationId xmlns:a16="http://schemas.microsoft.com/office/drawing/2014/main" id="{5E67F6BF-2639-1D02-9A6F-4823E31A0BE0}"/>
              </a:ext>
            </a:extLst>
          </p:cNvPr>
          <p:cNvSpPr>
            <a:spLocks noGrp="1"/>
          </p:cNvSpPr>
          <p:nvPr>
            <p:ph type="title"/>
          </p:nvPr>
        </p:nvSpPr>
        <p:spPr/>
        <p:txBody>
          <a:bodyPr vert="horz">
            <a:noAutofit/>
          </a:bodyPr>
          <a:lstStyle/>
          <a:p>
            <a:r>
              <a:rPr lang="fr-CA" sz="2400"/>
              <a:t>Lorsque les taux diminuent à l’échelle mondiale, les rendements des liquidités font habituellement de même</a:t>
            </a:r>
          </a:p>
        </p:txBody>
      </p:sp>
      <p:sp>
        <p:nvSpPr>
          <p:cNvPr id="18" name="Rectangle 17">
            <a:extLst>
              <a:ext uri="{FF2B5EF4-FFF2-40B4-BE49-F238E27FC236}">
                <a16:creationId xmlns:a16="http://schemas.microsoft.com/office/drawing/2014/main" id="{47C424EC-FF7A-691A-8A15-29F657FADBF8}"/>
              </a:ext>
            </a:extLst>
          </p:cNvPr>
          <p:cNvSpPr/>
          <p:nvPr/>
        </p:nvSpPr>
        <p:spPr>
          <a:xfrm>
            <a:off x="598222" y="5594890"/>
            <a:ext cx="10659801" cy="899349"/>
          </a:xfrm>
          <a:prstGeom prst="rect">
            <a:avLst/>
          </a:prstGeom>
        </p:spPr>
        <p:txBody>
          <a:bodyPr wrap="square">
            <a:spAutoFit/>
          </a:bodyPr>
          <a:lstStyle/>
          <a:p>
            <a:pPr marL="0" marR="0">
              <a:lnSpc>
                <a:spcPct val="107000"/>
              </a:lnSpc>
              <a:spcBef>
                <a:spcPts val="0"/>
              </a:spcBef>
              <a:spcAft>
                <a:spcPts val="800"/>
              </a:spcAft>
            </a:pPr>
            <a:r>
              <a:rPr lang="fr-CA" sz="700" b="0" i="0" dirty="0">
                <a:solidFill>
                  <a:schemeClr val="tx1">
                    <a:lumMod val="50000"/>
                    <a:lumOff val="50000"/>
                  </a:schemeClr>
                </a:solidFill>
                <a:effectLst/>
                <a:latin typeface="Arial" panose="020B0604020202020204" pitchFamily="34" charset="0"/>
              </a:rPr>
              <a:t>Sources : RBC Gestion mondiale d’actifs, </a:t>
            </a:r>
            <a:r>
              <a:rPr lang="fr-CA" sz="700" b="0" i="0" dirty="0" err="1">
                <a:solidFill>
                  <a:schemeClr val="tx1">
                    <a:lumMod val="50000"/>
                    <a:lumOff val="50000"/>
                  </a:schemeClr>
                </a:solidFill>
                <a:effectLst/>
                <a:latin typeface="Arial" panose="020B0604020202020204" pitchFamily="34" charset="0"/>
              </a:rPr>
              <a:t>Morningstar</a:t>
            </a:r>
            <a:r>
              <a:rPr lang="fr-CA" sz="700" b="0" i="0" dirty="0">
                <a:solidFill>
                  <a:schemeClr val="tx1">
                    <a:lumMod val="50000"/>
                    <a:lumOff val="50000"/>
                  </a:schemeClr>
                </a:solidFill>
                <a:effectLst/>
                <a:latin typeface="Arial" panose="020B0604020202020204" pitchFamily="34" charset="0"/>
              </a:rPr>
              <a:t>. Au 31 octobre 2024. « ME » = marchés émergents, « obligations canadiennes à court terme » = indice des obligations globales à court terme FTSE Canada, « obligations universelles canadiennes » = indice des obligations universelles FTSE Canada, « obligations américaines à rendement élevé » = indice ICE </a:t>
            </a:r>
            <a:r>
              <a:rPr lang="fr-CA" sz="700" b="0" i="0" dirty="0" err="1">
                <a:solidFill>
                  <a:schemeClr val="tx1">
                    <a:lumMod val="50000"/>
                    <a:lumOff val="50000"/>
                  </a:schemeClr>
                </a:solidFill>
                <a:effectLst/>
                <a:latin typeface="Arial" panose="020B0604020202020204" pitchFamily="34" charset="0"/>
              </a:rPr>
              <a:t>BofA</a:t>
            </a:r>
            <a:r>
              <a:rPr lang="fr-CA" sz="700" b="0" i="0" dirty="0">
                <a:solidFill>
                  <a:schemeClr val="tx1">
                    <a:lumMod val="50000"/>
                    <a:lumOff val="50000"/>
                  </a:schemeClr>
                </a:solidFill>
                <a:effectLst/>
                <a:latin typeface="Arial" panose="020B0604020202020204" pitchFamily="34" charset="0"/>
              </a:rPr>
              <a:t> US High </a:t>
            </a:r>
            <a:r>
              <a:rPr lang="fr-CA" sz="700" b="0" i="0" dirty="0" err="1">
                <a:solidFill>
                  <a:schemeClr val="tx1">
                    <a:lumMod val="50000"/>
                    <a:lumOff val="50000"/>
                  </a:schemeClr>
                </a:solidFill>
                <a:effectLst/>
                <a:latin typeface="Arial" panose="020B0604020202020204" pitchFamily="34" charset="0"/>
              </a:rPr>
              <a:t>Yield</a:t>
            </a:r>
            <a:r>
              <a:rPr lang="fr-CA" sz="700" b="0" i="0" dirty="0">
                <a:solidFill>
                  <a:schemeClr val="tx1">
                    <a:lumMod val="50000"/>
                    <a:lumOff val="50000"/>
                  </a:schemeClr>
                </a:solidFill>
                <a:effectLst/>
                <a:latin typeface="Arial" panose="020B0604020202020204" pitchFamily="34" charset="0"/>
              </a:rPr>
              <a:t> BB-B (C$ </a:t>
            </a:r>
            <a:r>
              <a:rPr lang="fr-CA" sz="700" b="0" i="0" dirty="0" err="1">
                <a:solidFill>
                  <a:schemeClr val="tx1">
                    <a:lumMod val="50000"/>
                    <a:lumOff val="50000"/>
                  </a:schemeClr>
                </a:solidFill>
                <a:effectLst/>
                <a:latin typeface="Arial" panose="020B0604020202020204" pitchFamily="34" charset="0"/>
              </a:rPr>
              <a:t>hedged</a:t>
            </a:r>
            <a:r>
              <a:rPr lang="fr-CA" sz="700" b="0" i="0" dirty="0">
                <a:solidFill>
                  <a:schemeClr val="tx1">
                    <a:lumMod val="50000"/>
                    <a:lumOff val="50000"/>
                  </a:schemeClr>
                </a:solidFill>
                <a:effectLst/>
                <a:latin typeface="Arial" panose="020B0604020202020204" pitchFamily="34" charset="0"/>
              </a:rPr>
              <a:t>), « obligations de ME » = indice JP Morgan EMBI Global </a:t>
            </a:r>
            <a:r>
              <a:rPr lang="fr-CA" sz="700" b="0" i="0" dirty="0" err="1">
                <a:solidFill>
                  <a:schemeClr val="tx1">
                    <a:lumMod val="50000"/>
                    <a:lumOff val="50000"/>
                  </a:schemeClr>
                </a:solidFill>
                <a:effectLst/>
                <a:latin typeface="Arial" panose="020B0604020202020204" pitchFamily="34" charset="0"/>
              </a:rPr>
              <a:t>Diversified</a:t>
            </a:r>
            <a:r>
              <a:rPr lang="fr-CA" sz="700" b="0" i="0" dirty="0">
                <a:solidFill>
                  <a:schemeClr val="tx1">
                    <a:lumMod val="50000"/>
                    <a:lumOff val="50000"/>
                  </a:schemeClr>
                </a:solidFill>
                <a:effectLst/>
                <a:latin typeface="Arial" panose="020B0604020202020204" pitchFamily="34" charset="0"/>
              </a:rPr>
              <a:t> (C$ </a:t>
            </a:r>
            <a:r>
              <a:rPr lang="fr-CA" sz="700" b="0" i="0" dirty="0" err="1">
                <a:solidFill>
                  <a:schemeClr val="tx1">
                    <a:lumMod val="50000"/>
                    <a:lumOff val="50000"/>
                  </a:schemeClr>
                </a:solidFill>
                <a:effectLst/>
                <a:latin typeface="Arial" panose="020B0604020202020204" pitchFamily="34" charset="0"/>
              </a:rPr>
              <a:t>hedged</a:t>
            </a:r>
            <a:r>
              <a:rPr lang="fr-CA" sz="700" b="0" i="0" dirty="0">
                <a:solidFill>
                  <a:schemeClr val="tx1">
                    <a:lumMod val="50000"/>
                    <a:lumOff val="50000"/>
                  </a:schemeClr>
                </a:solidFill>
                <a:effectLst/>
                <a:latin typeface="Arial" panose="020B0604020202020204" pitchFamily="34" charset="0"/>
              </a:rPr>
              <a:t>), « liquidités » = indice des bons du Trésor à 30 jours FTSE Canada. *Portefeuille équilibré fondé sur la composition stratégique de l’actif de RBC GMA pour un portefeuille mondial équilibré, rééquilibré tous les mois comme suit : 38 % de titres à revenu fixe : obligations universelles FTSE Canada ; 2 % de liquidités : bons du Trésor à 30 jours FTSE Canada ; 15 % d’actions canadiennes : indice composé de rendement global S&amp;P/TSX ; 25 % d’actions américaines : indice S&amp;P 500 TR (CAD) ; 15 % d’actions internationales : indice MSCI EAFE GR (CAD) ; 5 % d’actions de marchés émergents : indice MSCI EM GR (CAD). </a:t>
            </a:r>
            <a:r>
              <a:rPr lang="fr-CA" sz="700" dirty="0">
                <a:solidFill>
                  <a:schemeClr val="tx1">
                    <a:lumMod val="50000"/>
                    <a:lumOff val="50000"/>
                  </a:schemeClr>
                </a:solidFill>
                <a:latin typeface="Arial" panose="020B0604020202020204" pitchFamily="34" charset="0"/>
              </a:rPr>
              <a:t>Les rendements sur un an sont exprimés</a:t>
            </a:r>
            <a:r>
              <a:rPr lang="fr-CA" sz="700" b="0" i="0" dirty="0">
                <a:solidFill>
                  <a:schemeClr val="tx1">
                    <a:lumMod val="50000"/>
                    <a:lumOff val="50000"/>
                  </a:schemeClr>
                </a:solidFill>
                <a:effectLst/>
                <a:latin typeface="Arial" panose="020B0604020202020204" pitchFamily="34" charset="0"/>
              </a:rPr>
              <a:t> en dollars canadiens. Il est impossible d’investir directement dans un indice. Les données ne tiennent pas compte des frais liés aux opérations, des frais de gestion des placements et des taxes ou impôts. Si ces coûts et ces frais étaient pris en compte, les rendements seraient plus bas. Les rendements antérieurs ne sont pas garants des résultats futurs. Le tableau ci-dessus ne vise pas à comparer le rendement de divers actifs. Il sert à illustrer le rendement de divers actifs sur une période d’un an.</a:t>
            </a:r>
          </a:p>
        </p:txBody>
      </p:sp>
      <p:graphicFrame>
        <p:nvGraphicFramePr>
          <p:cNvPr id="7" name="Chart 6">
            <a:extLst>
              <a:ext uri="{FF2B5EF4-FFF2-40B4-BE49-F238E27FC236}">
                <a16:creationId xmlns:a16="http://schemas.microsoft.com/office/drawing/2014/main" id="{77BAEB48-FEB3-4A55-B010-45BCBD101B47}"/>
              </a:ext>
            </a:extLst>
          </p:cNvPr>
          <p:cNvGraphicFramePr>
            <a:graphicFrameLocks/>
          </p:cNvGraphicFramePr>
          <p:nvPr/>
        </p:nvGraphicFramePr>
        <p:xfrm>
          <a:off x="598222" y="1276256"/>
          <a:ext cx="10579849" cy="4435933"/>
        </p:xfrm>
        <a:graphic>
          <a:graphicData uri="http://schemas.openxmlformats.org/drawingml/2006/chart">
            <c:chart xmlns:c="http://schemas.openxmlformats.org/drawingml/2006/chart" xmlns:r="http://schemas.openxmlformats.org/officeDocument/2006/relationships" r:id="rId6"/>
          </a:graphicData>
        </a:graphic>
      </p:graphicFrame>
      <p:sp>
        <p:nvSpPr>
          <p:cNvPr id="27" name="Rectangle 10"/>
          <p:cNvSpPr>
            <a:spLocks noChangeArrowheads="1"/>
          </p:cNvSpPr>
          <p:nvPr/>
        </p:nvSpPr>
        <p:spPr bwMode="auto">
          <a:xfrm>
            <a:off x="1647825" y="3419475"/>
            <a:ext cx="306174" cy="184666"/>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rgbClr val="404040"/>
                </a:solidFill>
                <a:effectLst/>
                <a:latin typeface="Calibri" panose="020F0502020204030204" pitchFamily="34" charset="0"/>
              </a:rPr>
              <a:t>8,2 %</a:t>
            </a:r>
          </a:p>
        </p:txBody>
      </p:sp>
      <p:sp>
        <p:nvSpPr>
          <p:cNvPr id="28" name="Rectangle 11"/>
          <p:cNvSpPr>
            <a:spLocks noChangeArrowheads="1"/>
          </p:cNvSpPr>
          <p:nvPr/>
        </p:nvSpPr>
        <p:spPr bwMode="auto">
          <a:xfrm>
            <a:off x="3632200" y="2865438"/>
            <a:ext cx="384721" cy="184666"/>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rgbClr val="404040"/>
                </a:solidFill>
                <a:effectLst/>
                <a:latin typeface="Calibri" panose="020F0502020204030204" pitchFamily="34" charset="0"/>
              </a:rPr>
              <a:t>11,3 %</a:t>
            </a:r>
          </a:p>
        </p:txBody>
      </p:sp>
      <p:sp>
        <p:nvSpPr>
          <p:cNvPr id="29" name="Rectangle 12"/>
          <p:cNvSpPr>
            <a:spLocks noChangeArrowheads="1"/>
          </p:cNvSpPr>
          <p:nvPr/>
        </p:nvSpPr>
        <p:spPr bwMode="auto">
          <a:xfrm>
            <a:off x="5657850" y="2432050"/>
            <a:ext cx="384721" cy="184666"/>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rgbClr val="404040"/>
                </a:solidFill>
                <a:effectLst/>
                <a:latin typeface="Calibri" panose="020F0502020204030204" pitchFamily="34" charset="0"/>
              </a:rPr>
              <a:t>13,8 %</a:t>
            </a:r>
          </a:p>
        </p:txBody>
      </p:sp>
      <p:sp>
        <p:nvSpPr>
          <p:cNvPr id="30" name="Rectangle 13"/>
          <p:cNvSpPr>
            <a:spLocks noChangeArrowheads="1"/>
          </p:cNvSpPr>
          <p:nvPr/>
        </p:nvSpPr>
        <p:spPr bwMode="auto">
          <a:xfrm>
            <a:off x="7681913" y="1895475"/>
            <a:ext cx="384721" cy="184666"/>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rgbClr val="404040"/>
                </a:solidFill>
                <a:effectLst/>
                <a:latin typeface="Calibri" panose="020F0502020204030204" pitchFamily="34" charset="0"/>
              </a:rPr>
              <a:t>16,9 %</a:t>
            </a:r>
          </a:p>
        </p:txBody>
      </p:sp>
      <p:sp>
        <p:nvSpPr>
          <p:cNvPr id="31" name="Rectangle 14"/>
          <p:cNvSpPr>
            <a:spLocks noChangeArrowheads="1"/>
          </p:cNvSpPr>
          <p:nvPr/>
        </p:nvSpPr>
        <p:spPr bwMode="auto">
          <a:xfrm>
            <a:off x="9745663" y="3984625"/>
            <a:ext cx="306174" cy="184666"/>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rgbClr val="404040"/>
                </a:solidFill>
                <a:effectLst/>
                <a:latin typeface="Calibri" panose="020F0502020204030204" pitchFamily="34" charset="0"/>
              </a:rPr>
              <a:t>4,9 %</a:t>
            </a:r>
          </a:p>
        </p:txBody>
      </p:sp>
      <p:sp>
        <p:nvSpPr>
          <p:cNvPr id="32" name="Rectangle 15"/>
          <p:cNvSpPr>
            <a:spLocks noChangeArrowheads="1"/>
          </p:cNvSpPr>
          <p:nvPr/>
        </p:nvSpPr>
        <p:spPr bwMode="auto">
          <a:xfrm>
            <a:off x="629942" y="5178424"/>
            <a:ext cx="2083943" cy="369332"/>
          </a:xfrm>
          <a:prstGeom prst="rect">
            <a:avLst/>
          </a:prstGeom>
          <a:solidFill>
            <a:schemeClr val="bg1"/>
          </a:solidFill>
          <a:ln>
            <a:noFill/>
          </a:ln>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rgbClr val="595959"/>
                </a:solidFill>
                <a:effectLst/>
                <a:latin typeface="Calibri" panose="020F0502020204030204" pitchFamily="34" charset="0"/>
              </a:rPr>
              <a:t>Obligations canadiennes à court terme</a:t>
            </a:r>
          </a:p>
        </p:txBody>
      </p:sp>
      <p:sp>
        <p:nvSpPr>
          <p:cNvPr id="33" name="Rectangle 16"/>
          <p:cNvSpPr>
            <a:spLocks noChangeArrowheads="1"/>
          </p:cNvSpPr>
          <p:nvPr/>
        </p:nvSpPr>
        <p:spPr bwMode="auto">
          <a:xfrm>
            <a:off x="2713885" y="5178424"/>
            <a:ext cx="1921776" cy="369332"/>
          </a:xfrm>
          <a:prstGeom prst="rect">
            <a:avLst/>
          </a:prstGeom>
          <a:solidFill>
            <a:schemeClr val="bg1"/>
          </a:solidFill>
          <a:ln>
            <a:noFill/>
          </a:ln>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rgbClr val="595959"/>
                </a:solidFill>
                <a:effectLst/>
                <a:latin typeface="Calibri" panose="020F0502020204030204" pitchFamily="34" charset="0"/>
              </a:rPr>
              <a:t>Obligations universelles canadiennes</a:t>
            </a:r>
          </a:p>
        </p:txBody>
      </p:sp>
      <p:sp>
        <p:nvSpPr>
          <p:cNvPr id="34" name="Rectangle 17"/>
          <p:cNvSpPr>
            <a:spLocks noChangeArrowheads="1"/>
          </p:cNvSpPr>
          <p:nvPr/>
        </p:nvSpPr>
        <p:spPr bwMode="auto">
          <a:xfrm>
            <a:off x="4796035" y="5181244"/>
            <a:ext cx="2264174" cy="369332"/>
          </a:xfrm>
          <a:prstGeom prst="rect">
            <a:avLst/>
          </a:prstGeom>
          <a:solidFill>
            <a:schemeClr val="bg1"/>
          </a:solidFill>
          <a:ln>
            <a:noFill/>
          </a:ln>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rgbClr val="595959"/>
                </a:solidFill>
                <a:effectLst/>
                <a:latin typeface="Calibri" panose="020F0502020204030204" pitchFamily="34" charset="0"/>
              </a:rPr>
              <a:t>Obligations américaines à rendement élevé</a:t>
            </a:r>
          </a:p>
        </p:txBody>
      </p:sp>
      <p:sp>
        <p:nvSpPr>
          <p:cNvPr id="35" name="Rectangle 18"/>
          <p:cNvSpPr>
            <a:spLocks noChangeArrowheads="1"/>
          </p:cNvSpPr>
          <p:nvPr/>
        </p:nvSpPr>
        <p:spPr bwMode="auto">
          <a:xfrm>
            <a:off x="7342777" y="5178425"/>
            <a:ext cx="1138646" cy="184666"/>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rgbClr val="595959"/>
                </a:solidFill>
                <a:effectLst/>
                <a:latin typeface="Calibri" panose="020F0502020204030204" pitchFamily="34" charset="0"/>
              </a:rPr>
              <a:t>Obligations de ME</a:t>
            </a:r>
          </a:p>
        </p:txBody>
      </p:sp>
      <p:sp>
        <p:nvSpPr>
          <p:cNvPr id="36" name="Rectangle 19"/>
          <p:cNvSpPr>
            <a:spLocks noChangeArrowheads="1"/>
          </p:cNvSpPr>
          <p:nvPr/>
        </p:nvSpPr>
        <p:spPr bwMode="auto">
          <a:xfrm>
            <a:off x="9638029" y="5178425"/>
            <a:ext cx="597856" cy="184666"/>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rgbClr val="595959"/>
                </a:solidFill>
                <a:effectLst/>
                <a:latin typeface="Calibri" panose="020F0502020204030204" pitchFamily="34" charset="0"/>
              </a:rPr>
              <a:t>Liquidités</a:t>
            </a:r>
          </a:p>
        </p:txBody>
      </p:sp>
      <p:sp>
        <p:nvSpPr>
          <p:cNvPr id="37" name="Rectangle 22"/>
          <p:cNvSpPr>
            <a:spLocks noChangeArrowheads="1"/>
          </p:cNvSpPr>
          <p:nvPr/>
        </p:nvSpPr>
        <p:spPr bwMode="auto">
          <a:xfrm>
            <a:off x="3784752" y="1424658"/>
            <a:ext cx="4203395" cy="246221"/>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600" b="1" i="0" u="none" strike="noStrike" cap="none" normalizeH="0" baseline="0">
                <a:ln>
                  <a:noFill/>
                </a:ln>
                <a:solidFill>
                  <a:srgbClr val="000000"/>
                </a:solidFill>
                <a:effectLst/>
                <a:latin typeface="Calibri" panose="020F0502020204030204" pitchFamily="34" charset="0"/>
              </a:rPr>
              <a:t>Rendement sur un an de divers actifs à revenu fixe</a:t>
            </a:r>
          </a:p>
        </p:txBody>
      </p:sp>
    </p:spTree>
    <p:extLst>
      <p:ext uri="{BB962C8B-B14F-4D97-AF65-F5344CB8AC3E}">
        <p14:creationId xmlns:p14="http://schemas.microsoft.com/office/powerpoint/2010/main" val="8070409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05CA76-2E26-4887-055E-2C97908B4C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think-cell data - do not delete" hidden="1">
                        <a:extLst>
                          <a:ext uri="{FF2B5EF4-FFF2-40B4-BE49-F238E27FC236}">
                            <a16:creationId xmlns:a16="http://schemas.microsoft.com/office/drawing/2014/main" id="{3405CA76-2E26-4887-055E-2C97908B4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7C88B08-D806-9384-E01B-D5D4C7845921}"/>
              </a:ext>
            </a:extLst>
          </p:cNvPr>
          <p:cNvSpPr>
            <a:spLocks noGrp="1"/>
          </p:cNvSpPr>
          <p:nvPr>
            <p:ph type="sldNum" sz="quarter" idx="12"/>
          </p:nvPr>
        </p:nvSpPr>
        <p:spPr/>
        <p:txBody>
          <a:bodyPr/>
          <a:lstStyle/>
          <a:p>
            <a:fld id="{00D53123-EF31-4C08-A865-932FC064F9C8}" type="slidenum">
              <a:rPr lang="en-CA" smtClean="0"/>
              <a:t>6</a:t>
            </a:fld>
            <a:endParaRPr lang="en-CA"/>
          </a:p>
        </p:txBody>
      </p:sp>
      <p:sp>
        <p:nvSpPr>
          <p:cNvPr id="3" name="Text Placeholder 2">
            <a:extLst>
              <a:ext uri="{FF2B5EF4-FFF2-40B4-BE49-F238E27FC236}">
                <a16:creationId xmlns:a16="http://schemas.microsoft.com/office/drawing/2014/main" id="{989F2A47-8EDD-A32E-AE8D-CC1DE5EE4114}"/>
              </a:ext>
            </a:extLst>
          </p:cNvPr>
          <p:cNvSpPr>
            <a:spLocks noGrp="1"/>
          </p:cNvSpPr>
          <p:nvPr>
            <p:ph type="body" sz="quarter" idx="14"/>
          </p:nvPr>
        </p:nvSpPr>
        <p:spPr>
          <a:xfrm>
            <a:off x="685799" y="776606"/>
            <a:ext cx="10492273" cy="414019"/>
          </a:xfrm>
        </p:spPr>
        <p:txBody>
          <a:bodyPr>
            <a:normAutofit lnSpcReduction="10000"/>
          </a:bodyPr>
          <a:lstStyle/>
          <a:p>
            <a:r>
              <a:rPr lang="fr-CA" sz="1600"/>
              <a:t>Les cycles d’assouplissement qui n’ont pas débouché sur une récession ont entraîné des résultats boursiers et obligataires positifs</a:t>
            </a:r>
          </a:p>
        </p:txBody>
      </p:sp>
      <p:sp>
        <p:nvSpPr>
          <p:cNvPr id="4" name="Title 3">
            <a:extLst>
              <a:ext uri="{FF2B5EF4-FFF2-40B4-BE49-F238E27FC236}">
                <a16:creationId xmlns:a16="http://schemas.microsoft.com/office/drawing/2014/main" id="{5E67F6BF-2639-1D02-9A6F-4823E31A0BE0}"/>
              </a:ext>
            </a:extLst>
          </p:cNvPr>
          <p:cNvSpPr>
            <a:spLocks noGrp="1"/>
          </p:cNvSpPr>
          <p:nvPr>
            <p:ph type="title"/>
          </p:nvPr>
        </p:nvSpPr>
        <p:spPr/>
        <p:txBody>
          <a:bodyPr vert="horz">
            <a:noAutofit/>
          </a:bodyPr>
          <a:lstStyle/>
          <a:p>
            <a:r>
              <a:rPr lang="fr-CA" sz="2400"/>
              <a:t>Un portefeuille diversifié peut offrir protection et occasions</a:t>
            </a:r>
          </a:p>
        </p:txBody>
      </p:sp>
      <p:sp>
        <p:nvSpPr>
          <p:cNvPr id="18" name="Rectangle 17">
            <a:extLst>
              <a:ext uri="{FF2B5EF4-FFF2-40B4-BE49-F238E27FC236}">
                <a16:creationId xmlns:a16="http://schemas.microsoft.com/office/drawing/2014/main" id="{47C424EC-FF7A-691A-8A15-29F657FADBF8}"/>
              </a:ext>
            </a:extLst>
          </p:cNvPr>
          <p:cNvSpPr/>
          <p:nvPr/>
        </p:nvSpPr>
        <p:spPr>
          <a:xfrm>
            <a:off x="602034" y="5461031"/>
            <a:ext cx="10659801" cy="872996"/>
          </a:xfrm>
          <a:prstGeom prst="rect">
            <a:avLst/>
          </a:prstGeom>
        </p:spPr>
        <p:txBody>
          <a:bodyPr wrap="square">
            <a:spAutoFit/>
          </a:bodyPr>
          <a:lstStyle/>
          <a:p>
            <a:pPr marL="0" marR="0">
              <a:lnSpc>
                <a:spcPct val="107000"/>
              </a:lnSpc>
              <a:spcBef>
                <a:spcPts val="0"/>
              </a:spcBef>
              <a:spcAft>
                <a:spcPts val="800"/>
              </a:spcAft>
            </a:pPr>
            <a:r>
              <a:rPr lang="fr-CA" sz="800" dirty="0">
                <a:solidFill>
                  <a:schemeClr val="tx1">
                    <a:lumMod val="50000"/>
                    <a:lumOff val="50000"/>
                  </a:schemeClr>
                </a:solidFill>
                <a:effectLst/>
                <a:latin typeface="Arial" panose="020B0604020202020204" pitchFamily="34" charset="0"/>
                <a:ea typeface="Arial" panose="020B0604020202020204" pitchFamily="34" charset="0"/>
                <a:cs typeface="Times New Roman" panose="02020603050405020304" pitchFamily="18" charset="0"/>
              </a:rPr>
              <a:t>Sources : </a:t>
            </a:r>
            <a:r>
              <a:rPr lang="fr-CA" sz="800" dirty="0" err="1">
                <a:solidFill>
                  <a:schemeClr val="tx1">
                    <a:lumMod val="50000"/>
                    <a:lumOff val="50000"/>
                  </a:schemeClr>
                </a:solidFill>
                <a:effectLst/>
                <a:latin typeface="Arial" panose="020B0604020202020204" pitchFamily="34" charset="0"/>
                <a:ea typeface="Arial" panose="020B0604020202020204" pitchFamily="34" charset="0"/>
                <a:cs typeface="Times New Roman" panose="02020603050405020304" pitchFamily="18" charset="0"/>
              </a:rPr>
              <a:t>Morningstar</a:t>
            </a:r>
            <a:r>
              <a:rPr lang="fr-CA" sz="800" dirty="0">
                <a:solidFill>
                  <a:schemeClr val="tx1">
                    <a:lumMod val="50000"/>
                    <a:lumOff val="50000"/>
                  </a:schemeClr>
                </a:solidFill>
                <a:effectLst/>
                <a:latin typeface="Arial" panose="020B0604020202020204" pitchFamily="34" charset="0"/>
                <a:ea typeface="Arial" panose="020B0604020202020204" pitchFamily="34" charset="0"/>
                <a:cs typeface="Times New Roman" panose="02020603050405020304" pitchFamily="18" charset="0"/>
              </a:rPr>
              <a:t> Direct, RBC GMA. Il est présumé qu’un portefeuille équilibré fait l’objet d’un rééquilibrage mensuel. Ce portefeuille est composé de 2 % en liquidités, de 38 % en titres à revenu fixe, de 15 % en actions canadiennes, de 25 % en actions américaines, de 15 % en actions internationales et de 5 % en actions de marchés émergents. Liquidités : indice des bons du Trésor à 30 jours FTSE Canada ; titres à revenu fixe : indice des obligations universelles FTSE Canada ; actions canadiennes : indice composé S&amp;P/TSX ; actions américaines : indice S&amp;P 500 ; actions internationales : indice MSCI EAFE ; actions de marchés émergents : indice MSCI </a:t>
            </a:r>
            <a:r>
              <a:rPr lang="fr-CA" sz="800" dirty="0" err="1">
                <a:solidFill>
                  <a:schemeClr val="tx1">
                    <a:lumMod val="50000"/>
                    <a:lumOff val="50000"/>
                  </a:schemeClr>
                </a:solidFill>
                <a:effectLst/>
                <a:latin typeface="Arial" panose="020B0604020202020204" pitchFamily="34" charset="0"/>
                <a:ea typeface="Arial" panose="020B0604020202020204" pitchFamily="34" charset="0"/>
                <a:cs typeface="Times New Roman" panose="02020603050405020304" pitchFamily="18" charset="0"/>
              </a:rPr>
              <a:t>Emerging</a:t>
            </a:r>
            <a:r>
              <a:rPr lang="fr-CA" sz="800" dirty="0">
                <a:solidFill>
                  <a:schemeClr val="tx1">
                    <a:lumMod val="50000"/>
                    <a:lumOff val="50000"/>
                  </a:schemeClr>
                </a:solidFill>
                <a:effectLst/>
                <a:latin typeface="Arial" panose="020B0604020202020204" pitchFamily="34" charset="0"/>
                <a:ea typeface="Arial" panose="020B0604020202020204" pitchFamily="34" charset="0"/>
                <a:cs typeface="Times New Roman" panose="02020603050405020304" pitchFamily="18" charset="0"/>
              </a:rPr>
              <a:t> </a:t>
            </a:r>
            <a:r>
              <a:rPr lang="fr-CA" sz="800" dirty="0" err="1">
                <a:solidFill>
                  <a:schemeClr val="tx1">
                    <a:lumMod val="50000"/>
                    <a:lumOff val="50000"/>
                  </a:schemeClr>
                </a:solidFill>
                <a:effectLst/>
                <a:latin typeface="Arial" panose="020B0604020202020204" pitchFamily="34" charset="0"/>
                <a:ea typeface="Arial" panose="020B0604020202020204" pitchFamily="34" charset="0"/>
                <a:cs typeface="Times New Roman" panose="02020603050405020304" pitchFamily="18" charset="0"/>
              </a:rPr>
              <a:t>Markets</a:t>
            </a:r>
            <a:r>
              <a:rPr lang="fr-CA" sz="800" dirty="0">
                <a:solidFill>
                  <a:schemeClr val="tx1">
                    <a:lumMod val="50000"/>
                    <a:lumOff val="50000"/>
                  </a:schemeClr>
                </a:solidFill>
                <a:effectLst/>
                <a:latin typeface="Arial" panose="020B0604020202020204" pitchFamily="34" charset="0"/>
                <a:ea typeface="Arial" panose="020B0604020202020204" pitchFamily="34" charset="0"/>
                <a:cs typeface="Times New Roman" panose="02020603050405020304" pitchFamily="18" charset="0"/>
              </a:rPr>
              <a:t>. Tous les rendements sont des rendements globaux annualisés en dollars canadiens. Les rendements des indices ne tiennent pas compte de la déduction des dépenses liées aux placements. Si ces dépenses étaient prises en compte, les rendements seraient plus bas. Il n’est pas possible d’investir directement dans un indice. Les rendements sont fondés sur la fin du mois suivant la première baisse des taux des six derniers cycles de réduction des taux. Cycles de réduction des taux sans récession : de juillet 1995 à janvier 1996, de septembre 1998 à novembre 1998. Cycles de réduction des taux avec récession : de juin 1989 à septembre 1992, de janvier 2001 à juin 2003, de septembre 2007 à décembre 2008 et d’août 2019 à mars 2020. Il est impossible d’investir directement dans un indice. Les rendements antérieurs ne sont pas garants des résultats futurs.</a:t>
            </a:r>
          </a:p>
        </p:txBody>
      </p:sp>
      <p:graphicFrame>
        <p:nvGraphicFramePr>
          <p:cNvPr id="9" name="Chart 8">
            <a:extLst>
              <a:ext uri="{FF2B5EF4-FFF2-40B4-BE49-F238E27FC236}">
                <a16:creationId xmlns:a16="http://schemas.microsoft.com/office/drawing/2014/main" id="{0E775F9E-5578-4705-A4EA-5FA199EE142C}"/>
              </a:ext>
            </a:extLst>
          </p:cNvPr>
          <p:cNvGraphicFramePr>
            <a:graphicFrameLocks/>
          </p:cNvGraphicFramePr>
          <p:nvPr/>
        </p:nvGraphicFramePr>
        <p:xfrm>
          <a:off x="685799" y="1414588"/>
          <a:ext cx="10492273" cy="4007014"/>
        </p:xfrm>
        <a:graphic>
          <a:graphicData uri="http://schemas.openxmlformats.org/drawingml/2006/chart">
            <c:chart xmlns:c="http://schemas.openxmlformats.org/drawingml/2006/chart" xmlns:r="http://schemas.openxmlformats.org/officeDocument/2006/relationships" r:id="rId6"/>
          </a:graphicData>
        </a:graphic>
      </p:graphicFrame>
      <p:sp>
        <p:nvSpPr>
          <p:cNvPr id="10" name="TextBox 6">
            <a:extLst>
              <a:ext uri="{FF2B5EF4-FFF2-40B4-BE49-F238E27FC236}">
                <a16:creationId xmlns:a16="http://schemas.microsoft.com/office/drawing/2014/main" id="{376D716D-5956-44BD-863A-5BC11A26F604}"/>
              </a:ext>
            </a:extLst>
          </p:cNvPr>
          <p:cNvSpPr txBox="1"/>
          <p:nvPr/>
        </p:nvSpPr>
        <p:spPr>
          <a:xfrm>
            <a:off x="2752724" y="4790660"/>
            <a:ext cx="1743075" cy="523220"/>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ct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fr-CA" sz="1400" b="0" i="0" u="none" strike="noStrike">
                <a:solidFill>
                  <a:schemeClr val="tx1"/>
                </a:solidFill>
                <a:effectLst/>
                <a:latin typeface="Arial (Body)"/>
              </a:rPr>
              <a:t>Rendement sur 3 ans après la 1</a:t>
            </a:r>
            <a:r>
              <a:rPr lang="fr-CA" sz="1400" b="0" i="0" u="none" strike="noStrike" baseline="30000">
                <a:solidFill>
                  <a:schemeClr val="tx1"/>
                </a:solidFill>
                <a:effectLst/>
                <a:latin typeface="Arial (Body)"/>
              </a:rPr>
              <a:t>re</a:t>
            </a:r>
            <a:r>
              <a:rPr lang="fr-CA" sz="1400" b="0" i="0" u="none" strike="noStrike">
                <a:solidFill>
                  <a:schemeClr val="tx1"/>
                </a:solidFill>
                <a:effectLst/>
                <a:latin typeface="Arial (Body)"/>
              </a:rPr>
              <a:t> réduction des taux</a:t>
            </a:r>
          </a:p>
        </p:txBody>
      </p:sp>
      <p:sp>
        <p:nvSpPr>
          <p:cNvPr id="11" name="TextBox 7">
            <a:extLst>
              <a:ext uri="{FF2B5EF4-FFF2-40B4-BE49-F238E27FC236}">
                <a16:creationId xmlns:a16="http://schemas.microsoft.com/office/drawing/2014/main" id="{807F296F-C9BE-4C79-BB39-248CE0EBC739}"/>
              </a:ext>
            </a:extLst>
          </p:cNvPr>
          <p:cNvSpPr txBox="1"/>
          <p:nvPr/>
        </p:nvSpPr>
        <p:spPr>
          <a:xfrm>
            <a:off x="7696201" y="4790660"/>
            <a:ext cx="1743075" cy="523220"/>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ctr">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fr-CA" sz="1400" b="0" i="0" u="none" strike="noStrike">
                <a:solidFill>
                  <a:schemeClr val="tx1"/>
                </a:solidFill>
                <a:effectLst/>
                <a:latin typeface="Arial (Body)"/>
              </a:rPr>
              <a:t>Rendement sur 5 ans après la 1</a:t>
            </a:r>
            <a:r>
              <a:rPr lang="fr-CA" sz="1400" b="0" i="0" u="none" strike="noStrike" baseline="30000">
                <a:solidFill>
                  <a:schemeClr val="tx1"/>
                </a:solidFill>
                <a:effectLst/>
                <a:latin typeface="Arial (Body)"/>
              </a:rPr>
              <a:t>re</a:t>
            </a:r>
            <a:r>
              <a:rPr lang="fr-CA" sz="1400" b="0" i="0" u="none" strike="noStrike">
                <a:solidFill>
                  <a:schemeClr val="tx1"/>
                </a:solidFill>
                <a:effectLst/>
                <a:latin typeface="Arial (Body)"/>
              </a:rPr>
              <a:t> réduction des taux</a:t>
            </a:r>
          </a:p>
        </p:txBody>
      </p:sp>
      <p:sp>
        <p:nvSpPr>
          <p:cNvPr id="49" name="Rectangle 28"/>
          <p:cNvSpPr>
            <a:spLocks noChangeArrowheads="1"/>
          </p:cNvSpPr>
          <p:nvPr/>
        </p:nvSpPr>
        <p:spPr bwMode="auto">
          <a:xfrm>
            <a:off x="2655888" y="3467100"/>
            <a:ext cx="508152" cy="215444"/>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400" b="0" i="0" u="none" strike="noStrike" cap="none" normalizeH="0" baseline="0">
                <a:ln>
                  <a:noFill/>
                </a:ln>
                <a:solidFill>
                  <a:srgbClr val="000000"/>
                </a:solidFill>
                <a:effectLst/>
                <a:latin typeface="Arial" panose="020B0604020202020204" pitchFamily="34" charset="0"/>
              </a:rPr>
              <a:t>10,9 %</a:t>
            </a:r>
          </a:p>
        </p:txBody>
      </p:sp>
      <p:sp>
        <p:nvSpPr>
          <p:cNvPr id="50" name="Rectangle 29"/>
          <p:cNvSpPr>
            <a:spLocks noChangeArrowheads="1"/>
          </p:cNvSpPr>
          <p:nvPr/>
        </p:nvSpPr>
        <p:spPr bwMode="auto">
          <a:xfrm>
            <a:off x="4953001" y="4111625"/>
            <a:ext cx="408766" cy="215444"/>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400" b="0" i="0" u="none" strike="noStrike" cap="none" normalizeH="0" baseline="0">
                <a:ln>
                  <a:noFill/>
                </a:ln>
                <a:solidFill>
                  <a:srgbClr val="000000"/>
                </a:solidFill>
                <a:effectLst/>
                <a:latin typeface="Arial" panose="020B0604020202020204" pitchFamily="34" charset="0"/>
              </a:rPr>
              <a:t>3,7 %</a:t>
            </a:r>
          </a:p>
        </p:txBody>
      </p:sp>
      <p:sp>
        <p:nvSpPr>
          <p:cNvPr id="51" name="Rectangle 30"/>
          <p:cNvSpPr>
            <a:spLocks noChangeArrowheads="1"/>
          </p:cNvSpPr>
          <p:nvPr/>
        </p:nvSpPr>
        <p:spPr bwMode="auto">
          <a:xfrm>
            <a:off x="7251701" y="3611563"/>
            <a:ext cx="408766" cy="215444"/>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400" b="0" i="0" u="none" strike="noStrike" cap="none" normalizeH="0" baseline="0">
                <a:ln>
                  <a:noFill/>
                </a:ln>
                <a:solidFill>
                  <a:srgbClr val="000000"/>
                </a:solidFill>
                <a:effectLst/>
                <a:latin typeface="Arial" panose="020B0604020202020204" pitchFamily="34" charset="0"/>
              </a:rPr>
              <a:t>9,3 %</a:t>
            </a:r>
          </a:p>
        </p:txBody>
      </p:sp>
      <p:sp>
        <p:nvSpPr>
          <p:cNvPr id="52" name="Rectangle 31"/>
          <p:cNvSpPr>
            <a:spLocks noChangeArrowheads="1"/>
          </p:cNvSpPr>
          <p:nvPr/>
        </p:nvSpPr>
        <p:spPr bwMode="auto">
          <a:xfrm>
            <a:off x="9548813" y="3889375"/>
            <a:ext cx="408766" cy="215444"/>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400" b="0" i="0" u="none" strike="noStrike" cap="none" normalizeH="0" baseline="0">
                <a:ln>
                  <a:noFill/>
                </a:ln>
                <a:solidFill>
                  <a:srgbClr val="000000"/>
                </a:solidFill>
                <a:effectLst/>
                <a:latin typeface="Arial" panose="020B0604020202020204" pitchFamily="34" charset="0"/>
              </a:rPr>
              <a:t>6,2 %</a:t>
            </a:r>
          </a:p>
        </p:txBody>
      </p:sp>
      <p:sp>
        <p:nvSpPr>
          <p:cNvPr id="53" name="Rectangle 32"/>
          <p:cNvSpPr>
            <a:spLocks noChangeArrowheads="1"/>
          </p:cNvSpPr>
          <p:nvPr/>
        </p:nvSpPr>
        <p:spPr bwMode="auto">
          <a:xfrm>
            <a:off x="125885" y="1509713"/>
            <a:ext cx="11721157" cy="276999"/>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CA" sz="1800" b="1" i="0" u="none" strike="noStrike" cap="none" normalizeH="0" baseline="0" dirty="0">
                <a:ln>
                  <a:noFill/>
                </a:ln>
                <a:solidFill>
                  <a:srgbClr val="000000"/>
                </a:solidFill>
                <a:effectLst/>
                <a:latin typeface="Arial" panose="020B0604020202020204" pitchFamily="34" charset="0"/>
              </a:rPr>
              <a:t>Fourchette de rendements annualisés pour un portefeuille diversifié pendant les cycles d’assouplissement</a:t>
            </a:r>
          </a:p>
        </p:txBody>
      </p:sp>
      <p:sp>
        <p:nvSpPr>
          <p:cNvPr id="54" name="Rectangle 34"/>
          <p:cNvSpPr>
            <a:spLocks noChangeArrowheads="1"/>
          </p:cNvSpPr>
          <p:nvPr/>
        </p:nvSpPr>
        <p:spPr bwMode="auto">
          <a:xfrm>
            <a:off x="5119688" y="1849438"/>
            <a:ext cx="2498725" cy="227013"/>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100" b="0" i="0" u="none" strike="noStrike" cap="none" normalizeH="0" baseline="0">
                <a:ln>
                  <a:noFill/>
                </a:ln>
                <a:solidFill>
                  <a:srgbClr val="000000"/>
                </a:solidFill>
                <a:effectLst/>
                <a:latin typeface="Calibri" panose="020F0502020204030204" pitchFamily="34" charset="0"/>
              </a:rPr>
              <a:t>Maximum et minimum dans la fourchette de rendements</a:t>
            </a:r>
          </a:p>
        </p:txBody>
      </p:sp>
      <p:sp>
        <p:nvSpPr>
          <p:cNvPr id="55" name="Rectangle 36"/>
          <p:cNvSpPr>
            <a:spLocks noChangeArrowheads="1"/>
          </p:cNvSpPr>
          <p:nvPr/>
        </p:nvSpPr>
        <p:spPr bwMode="auto">
          <a:xfrm>
            <a:off x="5119688" y="2019300"/>
            <a:ext cx="1457325" cy="207963"/>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100" b="0" i="0" u="none" strike="noStrike" cap="none" normalizeH="0" baseline="0">
                <a:ln>
                  <a:noFill/>
                </a:ln>
                <a:solidFill>
                  <a:srgbClr val="000000"/>
                </a:solidFill>
                <a:effectLst/>
                <a:latin typeface="Calibri" panose="020F0502020204030204" pitchFamily="34" charset="0"/>
              </a:rPr>
              <a:t>Moyenne en cas de récession</a:t>
            </a:r>
          </a:p>
        </p:txBody>
      </p:sp>
      <p:sp>
        <p:nvSpPr>
          <p:cNvPr id="56" name="Rectangle 38"/>
          <p:cNvSpPr>
            <a:spLocks noChangeArrowheads="1"/>
          </p:cNvSpPr>
          <p:nvPr/>
        </p:nvSpPr>
        <p:spPr bwMode="auto">
          <a:xfrm>
            <a:off x="5119688" y="2184400"/>
            <a:ext cx="1781175" cy="228600"/>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100" b="0" i="0" u="none" strike="noStrike" cap="none" normalizeH="0" baseline="0">
                <a:ln>
                  <a:noFill/>
                </a:ln>
                <a:solidFill>
                  <a:srgbClr val="000000"/>
                </a:solidFill>
                <a:effectLst/>
                <a:latin typeface="Calibri" panose="020F0502020204030204" pitchFamily="34" charset="0"/>
              </a:rPr>
              <a:t>Moyenne en l’absence de récession</a:t>
            </a:r>
          </a:p>
        </p:txBody>
      </p:sp>
    </p:spTree>
    <p:extLst>
      <p:ext uri="{BB962C8B-B14F-4D97-AF65-F5344CB8AC3E}">
        <p14:creationId xmlns:p14="http://schemas.microsoft.com/office/powerpoint/2010/main" val="39712393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05CA76-2E26-4887-055E-2C97908B4C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think-cell data - do not delete" hidden="1">
                        <a:extLst>
                          <a:ext uri="{FF2B5EF4-FFF2-40B4-BE49-F238E27FC236}">
                            <a16:creationId xmlns:a16="http://schemas.microsoft.com/office/drawing/2014/main" id="{3405CA76-2E26-4887-055E-2C97908B4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7C88B08-D806-9384-E01B-D5D4C7845921}"/>
              </a:ext>
            </a:extLst>
          </p:cNvPr>
          <p:cNvSpPr>
            <a:spLocks noGrp="1"/>
          </p:cNvSpPr>
          <p:nvPr>
            <p:ph type="sldNum" sz="quarter" idx="12"/>
          </p:nvPr>
        </p:nvSpPr>
        <p:spPr/>
        <p:txBody>
          <a:bodyPr/>
          <a:lstStyle/>
          <a:p>
            <a:fld id="{00D53123-EF31-4C08-A865-932FC064F9C8}" type="slidenum">
              <a:rPr lang="en-CA" smtClean="0"/>
              <a:t>7</a:t>
            </a:fld>
            <a:endParaRPr lang="en-CA"/>
          </a:p>
        </p:txBody>
      </p:sp>
      <p:sp>
        <p:nvSpPr>
          <p:cNvPr id="3" name="Text Placeholder 2">
            <a:extLst>
              <a:ext uri="{FF2B5EF4-FFF2-40B4-BE49-F238E27FC236}">
                <a16:creationId xmlns:a16="http://schemas.microsoft.com/office/drawing/2014/main" id="{989F2A47-8EDD-A32E-AE8D-CC1DE5EE4114}"/>
              </a:ext>
            </a:extLst>
          </p:cNvPr>
          <p:cNvSpPr>
            <a:spLocks noGrp="1"/>
          </p:cNvSpPr>
          <p:nvPr>
            <p:ph type="body" sz="quarter" idx="14"/>
          </p:nvPr>
        </p:nvSpPr>
        <p:spPr>
          <a:xfrm>
            <a:off x="685799" y="776606"/>
            <a:ext cx="10492273" cy="414019"/>
          </a:xfrm>
        </p:spPr>
        <p:txBody>
          <a:bodyPr>
            <a:normAutofit lnSpcReduction="10000"/>
          </a:bodyPr>
          <a:lstStyle/>
          <a:p>
            <a:r>
              <a:rPr lang="fr-CA" sz="1600"/>
              <a:t>Le marché haussier du S&amp;P 500 dure en moyenne 5,1 ans – soit plus du double de la durée du marché haussier actuel</a:t>
            </a:r>
          </a:p>
        </p:txBody>
      </p:sp>
      <p:sp>
        <p:nvSpPr>
          <p:cNvPr id="4" name="Title 3">
            <a:extLst>
              <a:ext uri="{FF2B5EF4-FFF2-40B4-BE49-F238E27FC236}">
                <a16:creationId xmlns:a16="http://schemas.microsoft.com/office/drawing/2014/main" id="{5E67F6BF-2639-1D02-9A6F-4823E31A0BE0}"/>
              </a:ext>
            </a:extLst>
          </p:cNvPr>
          <p:cNvSpPr>
            <a:spLocks noGrp="1"/>
          </p:cNvSpPr>
          <p:nvPr>
            <p:ph type="title"/>
          </p:nvPr>
        </p:nvSpPr>
        <p:spPr/>
        <p:txBody>
          <a:bodyPr vert="horz">
            <a:noAutofit/>
          </a:bodyPr>
          <a:lstStyle/>
          <a:p>
            <a:r>
              <a:rPr lang="fr-CA" sz="2400"/>
              <a:t>Les actions américaines suivent une tendance haussière semblable</a:t>
            </a:r>
          </a:p>
        </p:txBody>
      </p:sp>
      <p:sp>
        <p:nvSpPr>
          <p:cNvPr id="18" name="Rectangle 17">
            <a:extLst>
              <a:ext uri="{FF2B5EF4-FFF2-40B4-BE49-F238E27FC236}">
                <a16:creationId xmlns:a16="http://schemas.microsoft.com/office/drawing/2014/main" id="{47C424EC-FF7A-691A-8A15-29F657FADBF8}"/>
              </a:ext>
            </a:extLst>
          </p:cNvPr>
          <p:cNvSpPr/>
          <p:nvPr/>
        </p:nvSpPr>
        <p:spPr>
          <a:xfrm>
            <a:off x="602034" y="5698091"/>
            <a:ext cx="10659801" cy="892552"/>
          </a:xfrm>
          <a:prstGeom prst="rect">
            <a:avLst/>
          </a:prstGeom>
        </p:spPr>
        <p:txBody>
          <a:bodyPr wrap="square">
            <a:spAutoFit/>
          </a:bodyPr>
          <a:lstStyle/>
          <a:p>
            <a:pPr algn="l"/>
            <a:r>
              <a:rPr lang="fr-CA" sz="800" b="0" i="0" dirty="0">
                <a:solidFill>
                  <a:schemeClr val="tx1">
                    <a:lumMod val="50000"/>
                    <a:lumOff val="50000"/>
                  </a:schemeClr>
                </a:solidFill>
                <a:effectLst/>
                <a:latin typeface="Arial" panose="020B0604020202020204" pitchFamily="34" charset="0"/>
              </a:rPr>
              <a:t>Sources 1 : RBC GMA, </a:t>
            </a:r>
            <a:r>
              <a:rPr lang="fr-CA" sz="800" b="0" i="0" dirty="0" err="1">
                <a:solidFill>
                  <a:schemeClr val="tx1">
                    <a:lumMod val="50000"/>
                    <a:lumOff val="50000"/>
                  </a:schemeClr>
                </a:solidFill>
                <a:effectLst/>
                <a:latin typeface="Arial" panose="020B0604020202020204" pitchFamily="34" charset="0"/>
              </a:rPr>
              <a:t>Morningstar</a:t>
            </a:r>
            <a:r>
              <a:rPr lang="fr-CA" sz="800" b="0" i="0" dirty="0">
                <a:solidFill>
                  <a:schemeClr val="tx1">
                    <a:lumMod val="50000"/>
                    <a:lumOff val="50000"/>
                  </a:schemeClr>
                </a:solidFill>
                <a:effectLst/>
                <a:latin typeface="Arial" panose="020B0604020202020204" pitchFamily="34" charset="0"/>
              </a:rPr>
              <a:t>. Le graphique comprend les périodes de marché haussier entre mai 1970 et octobre 2024. Rendement cumulatif deux ans après le creux initial. Il est impossible d’investir directement dans un indice. Les données ne tiennent pas compte des frais liés aux opérations, des frais de gestion des placements et des taxes ou impôts. Si ces coûts et ces frais étaient pris en compte, les rendements seraient plus bas. Les rendements antérieurs ne sont pas garants des résultats futurs.</a:t>
            </a:r>
          </a:p>
          <a:p>
            <a:pPr algn="l"/>
            <a:endParaRPr lang="en-US" sz="800" dirty="0">
              <a:solidFill>
                <a:schemeClr val="tx1">
                  <a:lumMod val="50000"/>
                  <a:lumOff val="50000"/>
                </a:schemeClr>
              </a:solidFill>
              <a:latin typeface="Arial" panose="020B0604020202020204" pitchFamily="34" charset="0"/>
            </a:endParaRPr>
          </a:p>
          <a:p>
            <a:pPr algn="l"/>
            <a:r>
              <a:rPr lang="fr-CA" sz="800" b="0" i="0" dirty="0">
                <a:solidFill>
                  <a:schemeClr val="tx1">
                    <a:lumMod val="50000"/>
                    <a:lumOff val="50000"/>
                  </a:schemeClr>
                </a:solidFill>
                <a:effectLst/>
                <a:latin typeface="Arial" panose="020B0604020202020204" pitchFamily="34" charset="0"/>
              </a:rPr>
              <a:t>Sources 2 : RBC GMA, Bloomberg. Au 30 septembre 2024. Reflet de l’indice S&amp;P 500, en dollars américains. Un marché haussier commence au niveau de clôture le plus bas atteint après une chute d’au moins 20 % du marché.</a:t>
            </a:r>
          </a:p>
          <a:p>
            <a:br>
              <a:rPr lang="fr-CA" sz="1000" dirty="0"/>
            </a:br>
            <a:endParaRPr lang="fr-CA" sz="1000" dirty="0"/>
          </a:p>
        </p:txBody>
      </p:sp>
      <p:pic>
        <p:nvPicPr>
          <p:cNvPr id="6" name="Picture 5">
            <a:extLst>
              <a:ext uri="{FF2B5EF4-FFF2-40B4-BE49-F238E27FC236}">
                <a16:creationId xmlns:a16="http://schemas.microsoft.com/office/drawing/2014/main" id="{3336A3C3-BA60-FE96-B46E-D3CEFE3533C5}"/>
              </a:ext>
            </a:extLst>
          </p:cNvPr>
          <p:cNvPicPr>
            <a:picLocks noChangeAspect="1"/>
          </p:cNvPicPr>
          <p:nvPr/>
        </p:nvPicPr>
        <p:blipFill>
          <a:blip r:embed="rId6"/>
          <a:stretch>
            <a:fillRect/>
          </a:stretch>
        </p:blipFill>
        <p:spPr>
          <a:xfrm>
            <a:off x="8550908" y="1888094"/>
            <a:ext cx="3333495" cy="3012299"/>
          </a:xfrm>
          <a:prstGeom prst="rect">
            <a:avLst/>
          </a:prstGeom>
        </p:spPr>
      </p:pic>
      <p:graphicFrame>
        <p:nvGraphicFramePr>
          <p:cNvPr id="9" name="Chart 8">
            <a:extLst>
              <a:ext uri="{FF2B5EF4-FFF2-40B4-BE49-F238E27FC236}">
                <a16:creationId xmlns:a16="http://schemas.microsoft.com/office/drawing/2014/main" id="{4543AD1B-AA40-476A-9998-9F2852E5C086}"/>
              </a:ext>
            </a:extLst>
          </p:cNvPr>
          <p:cNvGraphicFramePr>
            <a:graphicFrameLocks/>
          </p:cNvGraphicFramePr>
          <p:nvPr/>
        </p:nvGraphicFramePr>
        <p:xfrm>
          <a:off x="685799" y="1249684"/>
          <a:ext cx="7401188" cy="4462506"/>
        </p:xfrm>
        <a:graphic>
          <a:graphicData uri="http://schemas.openxmlformats.org/drawingml/2006/chart">
            <c:chart xmlns:c="http://schemas.openxmlformats.org/drawingml/2006/chart" xmlns:r="http://schemas.openxmlformats.org/officeDocument/2006/relationships" r:id="rId7"/>
          </a:graphicData>
        </a:graphic>
      </p:graphicFrame>
      <p:sp>
        <p:nvSpPr>
          <p:cNvPr id="10" name="Rectangle 9">
            <a:extLst>
              <a:ext uri="{FF2B5EF4-FFF2-40B4-BE49-F238E27FC236}">
                <a16:creationId xmlns:a16="http://schemas.microsoft.com/office/drawing/2014/main" id="{A96BBC45-E329-3FF9-BB2E-E872F8620243}"/>
              </a:ext>
            </a:extLst>
          </p:cNvPr>
          <p:cNvSpPr/>
          <p:nvPr/>
        </p:nvSpPr>
        <p:spPr>
          <a:xfrm>
            <a:off x="8226802" y="4963019"/>
            <a:ext cx="3657601" cy="400110"/>
          </a:xfrm>
          <a:prstGeom prst="rect">
            <a:avLst/>
          </a:prstGeom>
        </p:spPr>
        <p:txBody>
          <a:bodyPr wrap="square">
            <a:spAutoFit/>
          </a:bodyPr>
          <a:lstStyle/>
          <a:p>
            <a:br>
              <a:rPr lang="fr-CA" sz="1000"/>
            </a:br>
            <a:endParaRPr lang="fr-CA" sz="1000"/>
          </a:p>
        </p:txBody>
      </p:sp>
      <p:sp>
        <p:nvSpPr>
          <p:cNvPr id="53" name="Rectangle 14"/>
          <p:cNvSpPr>
            <a:spLocks noChangeArrowheads="1"/>
          </p:cNvSpPr>
          <p:nvPr/>
        </p:nvSpPr>
        <p:spPr bwMode="auto">
          <a:xfrm>
            <a:off x="1158875" y="5005388"/>
            <a:ext cx="239712" cy="169863"/>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000" b="0" i="0" u="none" strike="noStrike" cap="none" normalizeH="0" baseline="0">
                <a:ln>
                  <a:noFill/>
                </a:ln>
                <a:solidFill>
                  <a:srgbClr val="595959"/>
                </a:solidFill>
                <a:effectLst/>
                <a:latin typeface="Arial" panose="020B0604020202020204" pitchFamily="34" charset="0"/>
              </a:rPr>
              <a:t>0 %</a:t>
            </a:r>
          </a:p>
        </p:txBody>
      </p:sp>
      <p:sp>
        <p:nvSpPr>
          <p:cNvPr id="54" name="Rectangle 15"/>
          <p:cNvSpPr>
            <a:spLocks noChangeArrowheads="1"/>
          </p:cNvSpPr>
          <p:nvPr/>
        </p:nvSpPr>
        <p:spPr bwMode="auto">
          <a:xfrm>
            <a:off x="1087438" y="4500563"/>
            <a:ext cx="309562" cy="169863"/>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000" b="0" i="0" u="none" strike="noStrike" cap="none" normalizeH="0" baseline="0">
                <a:ln>
                  <a:noFill/>
                </a:ln>
                <a:solidFill>
                  <a:srgbClr val="595959"/>
                </a:solidFill>
                <a:effectLst/>
                <a:latin typeface="Arial" panose="020B0604020202020204" pitchFamily="34" charset="0"/>
              </a:rPr>
              <a:t>20 %</a:t>
            </a:r>
          </a:p>
        </p:txBody>
      </p:sp>
      <p:sp>
        <p:nvSpPr>
          <p:cNvPr id="55" name="Rectangle 16"/>
          <p:cNvSpPr>
            <a:spLocks noChangeArrowheads="1"/>
          </p:cNvSpPr>
          <p:nvPr/>
        </p:nvSpPr>
        <p:spPr bwMode="auto">
          <a:xfrm>
            <a:off x="1087438" y="3997325"/>
            <a:ext cx="309562" cy="168275"/>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000" b="0" i="0" u="none" strike="noStrike" cap="none" normalizeH="0" baseline="0">
                <a:ln>
                  <a:noFill/>
                </a:ln>
                <a:solidFill>
                  <a:srgbClr val="595959"/>
                </a:solidFill>
                <a:effectLst/>
                <a:latin typeface="Arial" panose="020B0604020202020204" pitchFamily="34" charset="0"/>
              </a:rPr>
              <a:t>40 %</a:t>
            </a:r>
          </a:p>
        </p:txBody>
      </p:sp>
      <p:sp>
        <p:nvSpPr>
          <p:cNvPr id="56" name="Rectangle 17"/>
          <p:cNvSpPr>
            <a:spLocks noChangeArrowheads="1"/>
          </p:cNvSpPr>
          <p:nvPr/>
        </p:nvSpPr>
        <p:spPr bwMode="auto">
          <a:xfrm>
            <a:off x="1087438" y="3492500"/>
            <a:ext cx="309562" cy="168275"/>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000" b="0" i="0" u="none" strike="noStrike" cap="none" normalizeH="0" baseline="0">
                <a:ln>
                  <a:noFill/>
                </a:ln>
                <a:solidFill>
                  <a:srgbClr val="595959"/>
                </a:solidFill>
                <a:effectLst/>
                <a:latin typeface="Arial" panose="020B0604020202020204" pitchFamily="34" charset="0"/>
              </a:rPr>
              <a:t>60 %</a:t>
            </a:r>
          </a:p>
        </p:txBody>
      </p:sp>
      <p:sp>
        <p:nvSpPr>
          <p:cNvPr id="57" name="Rectangle 18"/>
          <p:cNvSpPr>
            <a:spLocks noChangeArrowheads="1"/>
          </p:cNvSpPr>
          <p:nvPr/>
        </p:nvSpPr>
        <p:spPr bwMode="auto">
          <a:xfrm>
            <a:off x="1087438" y="2987675"/>
            <a:ext cx="309562" cy="169863"/>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000" b="0" i="0" u="none" strike="noStrike" cap="none" normalizeH="0" baseline="0">
                <a:ln>
                  <a:noFill/>
                </a:ln>
                <a:solidFill>
                  <a:srgbClr val="595959"/>
                </a:solidFill>
                <a:effectLst/>
                <a:latin typeface="Arial" panose="020B0604020202020204" pitchFamily="34" charset="0"/>
              </a:rPr>
              <a:t>80 %</a:t>
            </a:r>
          </a:p>
        </p:txBody>
      </p:sp>
      <p:sp>
        <p:nvSpPr>
          <p:cNvPr id="58" name="Rectangle 19"/>
          <p:cNvSpPr>
            <a:spLocks noChangeArrowheads="1"/>
          </p:cNvSpPr>
          <p:nvPr/>
        </p:nvSpPr>
        <p:spPr bwMode="auto">
          <a:xfrm>
            <a:off x="1017588" y="2482850"/>
            <a:ext cx="377825" cy="169863"/>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000" b="0" i="0" u="none" strike="noStrike" cap="none" normalizeH="0" baseline="0">
                <a:ln>
                  <a:noFill/>
                </a:ln>
                <a:solidFill>
                  <a:srgbClr val="595959"/>
                </a:solidFill>
                <a:effectLst/>
                <a:latin typeface="Arial" panose="020B0604020202020204" pitchFamily="34" charset="0"/>
              </a:rPr>
              <a:t>100 %</a:t>
            </a:r>
          </a:p>
        </p:txBody>
      </p:sp>
      <p:sp>
        <p:nvSpPr>
          <p:cNvPr id="59" name="Rectangle 20"/>
          <p:cNvSpPr>
            <a:spLocks noChangeArrowheads="1"/>
          </p:cNvSpPr>
          <p:nvPr/>
        </p:nvSpPr>
        <p:spPr bwMode="auto">
          <a:xfrm>
            <a:off x="1017588" y="1979613"/>
            <a:ext cx="377825" cy="168275"/>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000" b="0" i="0" u="none" strike="noStrike" cap="none" normalizeH="0" baseline="0">
                <a:ln>
                  <a:noFill/>
                </a:ln>
                <a:solidFill>
                  <a:srgbClr val="595959"/>
                </a:solidFill>
                <a:effectLst/>
                <a:latin typeface="Arial" panose="020B0604020202020204" pitchFamily="34" charset="0"/>
              </a:rPr>
              <a:t>120 %</a:t>
            </a:r>
          </a:p>
        </p:txBody>
      </p:sp>
      <p:sp>
        <p:nvSpPr>
          <p:cNvPr id="60" name="Rectangle 27"/>
          <p:cNvSpPr>
            <a:spLocks noChangeArrowheads="1"/>
          </p:cNvSpPr>
          <p:nvPr/>
        </p:nvSpPr>
        <p:spPr bwMode="auto">
          <a:xfrm>
            <a:off x="4217988" y="5341938"/>
            <a:ext cx="787400" cy="168275"/>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000" b="0" i="0" u="none" strike="noStrike" cap="none" normalizeH="0" baseline="0">
                <a:ln>
                  <a:noFill/>
                </a:ln>
                <a:solidFill>
                  <a:srgbClr val="595959"/>
                </a:solidFill>
                <a:effectLst/>
                <a:latin typeface="Arial" panose="020B0604020202020204" pitchFamily="34" charset="0"/>
              </a:rPr>
              <a:t>Jours de négociation</a:t>
            </a:r>
          </a:p>
        </p:txBody>
      </p:sp>
      <p:sp>
        <p:nvSpPr>
          <p:cNvPr id="61" name="Rectangle 28"/>
          <p:cNvSpPr>
            <a:spLocks noChangeArrowheads="1"/>
          </p:cNvSpPr>
          <p:nvPr/>
        </p:nvSpPr>
        <p:spPr bwMode="auto">
          <a:xfrm>
            <a:off x="1581150" y="1343025"/>
            <a:ext cx="5715000" cy="279400"/>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600" b="1" i="0" u="none" strike="noStrike" cap="none" normalizeH="0" baseline="0">
                <a:ln>
                  <a:noFill/>
                </a:ln>
                <a:solidFill>
                  <a:srgbClr val="000000"/>
                </a:solidFill>
                <a:effectLst/>
                <a:latin typeface="Arial" panose="020B0604020202020204" pitchFamily="34" charset="0"/>
              </a:rPr>
              <a:t>Les deux années suivant le début des marchés haussiers du S&amp;P 500 depuis 1970</a:t>
            </a:r>
          </a:p>
        </p:txBody>
      </p:sp>
      <p:sp>
        <p:nvSpPr>
          <p:cNvPr id="62" name="Rectangle 30"/>
          <p:cNvSpPr>
            <a:spLocks noChangeArrowheads="1"/>
          </p:cNvSpPr>
          <p:nvPr/>
        </p:nvSpPr>
        <p:spPr bwMode="auto">
          <a:xfrm>
            <a:off x="1836738" y="1817688"/>
            <a:ext cx="444500" cy="152400"/>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900" b="0" i="0" u="none" strike="noStrike" cap="none" normalizeH="0" baseline="0">
                <a:ln>
                  <a:noFill/>
                </a:ln>
                <a:solidFill>
                  <a:srgbClr val="595959"/>
                </a:solidFill>
                <a:effectLst/>
                <a:latin typeface="Arial" panose="020B0604020202020204" pitchFamily="34" charset="0"/>
              </a:rPr>
              <a:t>Mai 1970</a:t>
            </a:r>
          </a:p>
        </p:txBody>
      </p:sp>
      <p:sp>
        <p:nvSpPr>
          <p:cNvPr id="63" name="Rectangle 32"/>
          <p:cNvSpPr>
            <a:spLocks noChangeArrowheads="1"/>
          </p:cNvSpPr>
          <p:nvPr/>
        </p:nvSpPr>
        <p:spPr bwMode="auto">
          <a:xfrm>
            <a:off x="2668588" y="1817688"/>
            <a:ext cx="409575" cy="152400"/>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900" b="0" i="0" u="none" strike="noStrike" cap="none" normalizeH="0" baseline="0">
                <a:ln>
                  <a:noFill/>
                </a:ln>
                <a:solidFill>
                  <a:srgbClr val="595959"/>
                </a:solidFill>
                <a:effectLst/>
                <a:latin typeface="Arial" panose="020B0604020202020204" pitchFamily="34" charset="0"/>
              </a:rPr>
              <a:t>Oct. 1974</a:t>
            </a:r>
          </a:p>
        </p:txBody>
      </p:sp>
      <p:sp>
        <p:nvSpPr>
          <p:cNvPr id="64" name="Rectangle 34"/>
          <p:cNvSpPr>
            <a:spLocks noChangeArrowheads="1"/>
          </p:cNvSpPr>
          <p:nvPr/>
        </p:nvSpPr>
        <p:spPr bwMode="auto">
          <a:xfrm>
            <a:off x="3462338" y="1817688"/>
            <a:ext cx="434975" cy="152400"/>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900" b="0" i="0" u="none" strike="noStrike" cap="none" normalizeH="0" baseline="0">
                <a:ln>
                  <a:noFill/>
                </a:ln>
                <a:solidFill>
                  <a:srgbClr val="595959"/>
                </a:solidFill>
                <a:effectLst/>
                <a:latin typeface="Arial" panose="020B0604020202020204" pitchFamily="34" charset="0"/>
              </a:rPr>
              <a:t>Août 1982</a:t>
            </a:r>
          </a:p>
        </p:txBody>
      </p:sp>
      <p:sp>
        <p:nvSpPr>
          <p:cNvPr id="65" name="Rectangle 36"/>
          <p:cNvSpPr>
            <a:spLocks noChangeArrowheads="1"/>
          </p:cNvSpPr>
          <p:nvPr/>
        </p:nvSpPr>
        <p:spPr bwMode="auto">
          <a:xfrm>
            <a:off x="4283075" y="1817688"/>
            <a:ext cx="433387" cy="152400"/>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900" b="0" i="0" u="none" strike="noStrike" cap="none" normalizeH="0" baseline="0">
                <a:ln>
                  <a:noFill/>
                </a:ln>
                <a:solidFill>
                  <a:srgbClr val="595959"/>
                </a:solidFill>
                <a:effectLst/>
                <a:latin typeface="Arial" panose="020B0604020202020204" pitchFamily="34" charset="0"/>
              </a:rPr>
              <a:t>Déc. 1987</a:t>
            </a:r>
          </a:p>
        </p:txBody>
      </p:sp>
      <p:sp>
        <p:nvSpPr>
          <p:cNvPr id="66" name="Rectangle 38"/>
          <p:cNvSpPr>
            <a:spLocks noChangeArrowheads="1"/>
          </p:cNvSpPr>
          <p:nvPr/>
        </p:nvSpPr>
        <p:spPr bwMode="auto">
          <a:xfrm>
            <a:off x="5102225" y="1817688"/>
            <a:ext cx="407987" cy="152400"/>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900" b="0" i="0" u="none" strike="noStrike" cap="none" normalizeH="0" baseline="0">
                <a:ln>
                  <a:noFill/>
                </a:ln>
                <a:solidFill>
                  <a:srgbClr val="595959"/>
                </a:solidFill>
                <a:effectLst/>
                <a:latin typeface="Arial" panose="020B0604020202020204" pitchFamily="34" charset="0"/>
              </a:rPr>
              <a:t>Oct. 2002</a:t>
            </a:r>
          </a:p>
        </p:txBody>
      </p:sp>
      <p:sp>
        <p:nvSpPr>
          <p:cNvPr id="67" name="Rectangle 40"/>
          <p:cNvSpPr>
            <a:spLocks noChangeArrowheads="1"/>
          </p:cNvSpPr>
          <p:nvPr/>
        </p:nvSpPr>
        <p:spPr bwMode="auto">
          <a:xfrm>
            <a:off x="5895975" y="1817688"/>
            <a:ext cx="427037" cy="152400"/>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900" b="0" i="0" u="none" strike="noStrike" cap="none" normalizeH="0" baseline="0">
                <a:ln>
                  <a:noFill/>
                </a:ln>
                <a:solidFill>
                  <a:srgbClr val="595959"/>
                </a:solidFill>
                <a:effectLst/>
                <a:latin typeface="Arial" panose="020B0604020202020204" pitchFamily="34" charset="0"/>
              </a:rPr>
              <a:t>Mars 2009</a:t>
            </a:r>
          </a:p>
        </p:txBody>
      </p:sp>
      <p:sp>
        <p:nvSpPr>
          <p:cNvPr id="68" name="Rectangle 42"/>
          <p:cNvSpPr>
            <a:spLocks noChangeArrowheads="1"/>
          </p:cNvSpPr>
          <p:nvPr/>
        </p:nvSpPr>
        <p:spPr bwMode="auto">
          <a:xfrm>
            <a:off x="6708775" y="1817688"/>
            <a:ext cx="427037" cy="152400"/>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900" b="0" i="0" u="none" strike="noStrike" cap="none" normalizeH="0" baseline="0">
                <a:ln>
                  <a:noFill/>
                </a:ln>
                <a:solidFill>
                  <a:srgbClr val="595959"/>
                </a:solidFill>
                <a:effectLst/>
                <a:latin typeface="Arial" panose="020B0604020202020204" pitchFamily="34" charset="0"/>
              </a:rPr>
              <a:t>Mars 2020</a:t>
            </a:r>
          </a:p>
        </p:txBody>
      </p:sp>
      <p:sp>
        <p:nvSpPr>
          <p:cNvPr id="69" name="Rectangle 44"/>
          <p:cNvSpPr>
            <a:spLocks noChangeArrowheads="1"/>
          </p:cNvSpPr>
          <p:nvPr/>
        </p:nvSpPr>
        <p:spPr bwMode="auto">
          <a:xfrm>
            <a:off x="7521575" y="1817688"/>
            <a:ext cx="407987" cy="152400"/>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900" b="0" i="0" u="none" strike="noStrike" cap="none" normalizeH="0" baseline="0">
                <a:ln>
                  <a:noFill/>
                </a:ln>
                <a:solidFill>
                  <a:srgbClr val="595959"/>
                </a:solidFill>
                <a:effectLst/>
                <a:latin typeface="Arial" panose="020B0604020202020204" pitchFamily="34" charset="0"/>
              </a:rPr>
              <a:t>Oct. 2022</a:t>
            </a:r>
          </a:p>
        </p:txBody>
      </p:sp>
      <p:graphicFrame>
        <p:nvGraphicFramePr>
          <p:cNvPr id="70" name="Tableau 69"/>
          <p:cNvGraphicFramePr>
            <a:graphicFrameLocks noGrp="1"/>
          </p:cNvGraphicFramePr>
          <p:nvPr>
            <p:extLst>
              <p:ext uri="{D42A27DB-BD31-4B8C-83A1-F6EECF244321}">
                <p14:modId xmlns:p14="http://schemas.microsoft.com/office/powerpoint/2010/main" val="89857093"/>
              </p:ext>
            </p:extLst>
          </p:nvPr>
        </p:nvGraphicFramePr>
        <p:xfrm>
          <a:off x="8550908" y="1817688"/>
          <a:ext cx="3346826" cy="3474720"/>
        </p:xfrm>
        <a:graphic>
          <a:graphicData uri="http://schemas.openxmlformats.org/drawingml/2006/table">
            <a:tbl>
              <a:tblPr firstRow="1" bandRow="1">
                <a:tableStyleId>{BF9529FB-F7F1-4122-B7C4-D901D1AFE0D1}</a:tableStyleId>
              </a:tblPr>
              <a:tblGrid>
                <a:gridCol w="1021511">
                  <a:extLst>
                    <a:ext uri="{9D8B030D-6E8A-4147-A177-3AD203B41FA5}">
                      <a16:colId xmlns:a16="http://schemas.microsoft.com/office/drawing/2014/main" val="302476729"/>
                    </a:ext>
                  </a:extLst>
                </a:gridCol>
                <a:gridCol w="1064795">
                  <a:extLst>
                    <a:ext uri="{9D8B030D-6E8A-4147-A177-3AD203B41FA5}">
                      <a16:colId xmlns:a16="http://schemas.microsoft.com/office/drawing/2014/main" val="2004690319"/>
                    </a:ext>
                  </a:extLst>
                </a:gridCol>
                <a:gridCol w="1260520">
                  <a:extLst>
                    <a:ext uri="{9D8B030D-6E8A-4147-A177-3AD203B41FA5}">
                      <a16:colId xmlns:a16="http://schemas.microsoft.com/office/drawing/2014/main" val="1678771266"/>
                    </a:ext>
                  </a:extLst>
                </a:gridCol>
              </a:tblGrid>
              <a:tr h="220318">
                <a:tc>
                  <a:txBody>
                    <a:bodyPr/>
                    <a:lstStyle/>
                    <a:p>
                      <a:pPr algn="ctr"/>
                      <a:r>
                        <a:rPr lang="fr-CA" sz="1000"/>
                        <a:t>Creux</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fr-CA" sz="1000"/>
                        <a:t>Nbre d’années du marché haussi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fr-CA" sz="1000"/>
                        <a:t>Hausse du S&amp;P 5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62412524"/>
                  </a:ext>
                </a:extLst>
              </a:tr>
              <a:tr h="220318">
                <a:tc>
                  <a:txBody>
                    <a:bodyPr/>
                    <a:lstStyle/>
                    <a:p>
                      <a:pPr algn="ctr"/>
                      <a:r>
                        <a:rPr lang="fr-CA" sz="1000"/>
                        <a:t>22-10-195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EF1"/>
                    </a:solidFill>
                  </a:tcPr>
                </a:tc>
                <a:tc>
                  <a:txBody>
                    <a:bodyPr/>
                    <a:lstStyle/>
                    <a:p>
                      <a:pPr algn="ctr"/>
                      <a:r>
                        <a:rPr lang="fr-CA" sz="1000"/>
                        <a:t>4,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EF1"/>
                    </a:solidFill>
                  </a:tcPr>
                </a:tc>
                <a:tc>
                  <a:txBody>
                    <a:bodyPr/>
                    <a:lstStyle/>
                    <a:p>
                      <a:pPr algn="ctr"/>
                      <a:r>
                        <a:rPr lang="fr-CA" sz="1000"/>
                        <a:t>86,4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EF1"/>
                    </a:solidFill>
                  </a:tcPr>
                </a:tc>
                <a:extLst>
                  <a:ext uri="{0D108BD9-81ED-4DB2-BD59-A6C34878D82A}">
                    <a16:rowId xmlns:a16="http://schemas.microsoft.com/office/drawing/2014/main" val="1610101627"/>
                  </a:ext>
                </a:extLst>
              </a:tr>
              <a:tr h="220318">
                <a:tc>
                  <a:txBody>
                    <a:bodyPr/>
                    <a:lstStyle/>
                    <a:p>
                      <a:pPr algn="ctr"/>
                      <a:r>
                        <a:rPr lang="fr-CA" sz="1000"/>
                        <a:t>26-06-196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CA" sz="1000"/>
                        <a:t>3,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CA" sz="1000"/>
                        <a:t>79,8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56510894"/>
                  </a:ext>
                </a:extLst>
              </a:tr>
              <a:tr h="220318">
                <a:tc>
                  <a:txBody>
                    <a:bodyPr/>
                    <a:lstStyle/>
                    <a:p>
                      <a:pPr algn="ctr"/>
                      <a:r>
                        <a:rPr lang="fr-CA" sz="1000"/>
                        <a:t>07-10-196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EF1"/>
                    </a:solidFill>
                  </a:tcPr>
                </a:tc>
                <a:tc>
                  <a:txBody>
                    <a:bodyPr/>
                    <a:lstStyle/>
                    <a:p>
                      <a:pPr algn="ctr"/>
                      <a:r>
                        <a:rPr lang="fr-CA" sz="1000"/>
                        <a:t>2,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EF1"/>
                    </a:solidFill>
                  </a:tcPr>
                </a:tc>
                <a:tc>
                  <a:txBody>
                    <a:bodyPr/>
                    <a:lstStyle/>
                    <a:p>
                      <a:pPr algn="ctr"/>
                      <a:r>
                        <a:rPr lang="fr-CA" sz="1000"/>
                        <a:t>48,0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EF1"/>
                    </a:solidFill>
                  </a:tcPr>
                </a:tc>
                <a:extLst>
                  <a:ext uri="{0D108BD9-81ED-4DB2-BD59-A6C34878D82A}">
                    <a16:rowId xmlns:a16="http://schemas.microsoft.com/office/drawing/2014/main" val="2049658397"/>
                  </a:ext>
                </a:extLst>
              </a:tr>
              <a:tr h="220318">
                <a:tc>
                  <a:txBody>
                    <a:bodyPr/>
                    <a:lstStyle/>
                    <a:p>
                      <a:pPr algn="ctr"/>
                      <a:r>
                        <a:rPr lang="fr-CA" sz="1000"/>
                        <a:t>26-05-197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CA" sz="1000"/>
                        <a:t>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CA" sz="1000"/>
                        <a:t>73,5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6618480"/>
                  </a:ext>
                </a:extLst>
              </a:tr>
              <a:tr h="220318">
                <a:tc>
                  <a:txBody>
                    <a:bodyPr/>
                    <a:lstStyle/>
                    <a:p>
                      <a:pPr algn="ctr"/>
                      <a:r>
                        <a:rPr lang="fr-CA" sz="1000"/>
                        <a:t>03-10-197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EF1"/>
                    </a:solidFill>
                  </a:tcPr>
                </a:tc>
                <a:tc>
                  <a:txBody>
                    <a:bodyPr/>
                    <a:lstStyle/>
                    <a:p>
                      <a:pPr algn="ctr"/>
                      <a:r>
                        <a:rPr lang="fr-CA" sz="1000"/>
                        <a:t>6,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EF1"/>
                    </a:solidFill>
                  </a:tcPr>
                </a:tc>
                <a:tc>
                  <a:txBody>
                    <a:bodyPr/>
                    <a:lstStyle/>
                    <a:p>
                      <a:pPr algn="ctr"/>
                      <a:r>
                        <a:rPr lang="fr-CA" sz="1000"/>
                        <a:t>125,6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EF1"/>
                    </a:solidFill>
                  </a:tcPr>
                </a:tc>
                <a:extLst>
                  <a:ext uri="{0D108BD9-81ED-4DB2-BD59-A6C34878D82A}">
                    <a16:rowId xmlns:a16="http://schemas.microsoft.com/office/drawing/2014/main" val="1842121677"/>
                  </a:ext>
                </a:extLst>
              </a:tr>
              <a:tr h="220318">
                <a:tc>
                  <a:txBody>
                    <a:bodyPr/>
                    <a:lstStyle/>
                    <a:p>
                      <a:pPr algn="ctr"/>
                      <a:r>
                        <a:rPr lang="fr-CA" sz="1000"/>
                        <a:t>12-08-198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CA" sz="1000"/>
                        <a:t>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CA" sz="1000"/>
                        <a:t>228,8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49136584"/>
                  </a:ext>
                </a:extLst>
              </a:tr>
              <a:tr h="220318">
                <a:tc>
                  <a:txBody>
                    <a:bodyPr/>
                    <a:lstStyle/>
                    <a:p>
                      <a:pPr algn="ctr"/>
                      <a:r>
                        <a:rPr lang="fr-CA" sz="1000"/>
                        <a:t>12-04-198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EF1"/>
                    </a:solidFill>
                  </a:tcPr>
                </a:tc>
                <a:tc>
                  <a:txBody>
                    <a:bodyPr/>
                    <a:lstStyle/>
                    <a:p>
                      <a:pPr algn="ctr"/>
                      <a:r>
                        <a:rPr lang="fr-CA" sz="1000"/>
                        <a:t>12,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EF1"/>
                    </a:solidFill>
                  </a:tcPr>
                </a:tc>
                <a:tc>
                  <a:txBody>
                    <a:bodyPr/>
                    <a:lstStyle/>
                    <a:p>
                      <a:pPr algn="ctr"/>
                      <a:r>
                        <a:rPr lang="fr-CA" sz="1000"/>
                        <a:t>582,1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EF1"/>
                    </a:solidFill>
                  </a:tcPr>
                </a:tc>
                <a:extLst>
                  <a:ext uri="{0D108BD9-81ED-4DB2-BD59-A6C34878D82A}">
                    <a16:rowId xmlns:a16="http://schemas.microsoft.com/office/drawing/2014/main" val="56818572"/>
                  </a:ext>
                </a:extLst>
              </a:tr>
              <a:tr h="220318">
                <a:tc>
                  <a:txBody>
                    <a:bodyPr/>
                    <a:lstStyle/>
                    <a:p>
                      <a:pPr algn="ctr"/>
                      <a:r>
                        <a:rPr lang="fr-CA" sz="1000"/>
                        <a:t>09-10-200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CA" sz="1000"/>
                        <a:t>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CA" sz="1000"/>
                        <a:t>101,5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0749140"/>
                  </a:ext>
                </a:extLst>
              </a:tr>
              <a:tr h="220318">
                <a:tc>
                  <a:txBody>
                    <a:bodyPr/>
                    <a:lstStyle/>
                    <a:p>
                      <a:pPr algn="ctr"/>
                      <a:r>
                        <a:rPr lang="fr-CA" sz="1000"/>
                        <a:t>09-03-200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EF1"/>
                    </a:solidFill>
                  </a:tcPr>
                </a:tc>
                <a:tc>
                  <a:txBody>
                    <a:bodyPr/>
                    <a:lstStyle/>
                    <a:p>
                      <a:pPr algn="ctr"/>
                      <a:r>
                        <a:rPr lang="fr-CA" sz="1000"/>
                        <a:t>10,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EF1"/>
                    </a:solidFill>
                  </a:tcPr>
                </a:tc>
                <a:tc>
                  <a:txBody>
                    <a:bodyPr/>
                    <a:lstStyle/>
                    <a:p>
                      <a:pPr algn="ctr"/>
                      <a:r>
                        <a:rPr lang="fr-CA" sz="1000"/>
                        <a:t>400,5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EF1"/>
                    </a:solidFill>
                  </a:tcPr>
                </a:tc>
                <a:extLst>
                  <a:ext uri="{0D108BD9-81ED-4DB2-BD59-A6C34878D82A}">
                    <a16:rowId xmlns:a16="http://schemas.microsoft.com/office/drawing/2014/main" val="2168041052"/>
                  </a:ext>
                </a:extLst>
              </a:tr>
              <a:tr h="220318">
                <a:tc>
                  <a:txBody>
                    <a:bodyPr/>
                    <a:lstStyle/>
                    <a:p>
                      <a:pPr algn="ctr"/>
                      <a:r>
                        <a:rPr lang="fr-CA" sz="1000"/>
                        <a:t>23-03-20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CA" sz="1000"/>
                        <a:t>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CA" sz="1000"/>
                        <a:t>114,4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8599602"/>
                  </a:ext>
                </a:extLst>
              </a:tr>
              <a:tr h="220318">
                <a:tc>
                  <a:txBody>
                    <a:bodyPr/>
                    <a:lstStyle/>
                    <a:p>
                      <a:pPr algn="ctr"/>
                      <a:r>
                        <a:rPr lang="fr-CA" sz="1000"/>
                        <a:t>12-10-202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EF1"/>
                    </a:solidFill>
                  </a:tcPr>
                </a:tc>
                <a:tc>
                  <a:txBody>
                    <a:bodyPr/>
                    <a:lstStyle/>
                    <a:p>
                      <a:pPr algn="ctr"/>
                      <a:r>
                        <a:rPr lang="fr-CA" sz="1000"/>
                        <a:t>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EF1"/>
                    </a:solidFill>
                  </a:tcPr>
                </a:tc>
                <a:tc>
                  <a:txBody>
                    <a:bodyPr/>
                    <a:lstStyle/>
                    <a:p>
                      <a:pPr algn="ctr"/>
                      <a:r>
                        <a:rPr lang="fr-CA" sz="1000"/>
                        <a:t>61,1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EF1"/>
                    </a:solidFill>
                  </a:tcPr>
                </a:tc>
                <a:extLst>
                  <a:ext uri="{0D108BD9-81ED-4DB2-BD59-A6C34878D82A}">
                    <a16:rowId xmlns:a16="http://schemas.microsoft.com/office/drawing/2014/main" val="662782281"/>
                  </a:ext>
                </a:extLst>
              </a:tr>
              <a:tr h="220318">
                <a:tc>
                  <a:txBody>
                    <a:bodyPr/>
                    <a:lstStyle/>
                    <a:p>
                      <a:pPr algn="l"/>
                      <a:r>
                        <a:rPr lang="fr-CA" sz="1000" b="1">
                          <a:solidFill>
                            <a:schemeClr val="bg1"/>
                          </a:solidFill>
                        </a:rPr>
                        <a:t>Moyenn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fr-CA" sz="1000" b="1">
                          <a:solidFill>
                            <a:schemeClr val="bg1"/>
                          </a:solidFill>
                        </a:rPr>
                        <a:t>5,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fr-CA" sz="1000" b="1">
                          <a:solidFill>
                            <a:schemeClr val="bg1"/>
                          </a:solidFill>
                        </a:rPr>
                        <a:t>172,9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620790872"/>
                  </a:ext>
                </a:extLst>
              </a:tr>
            </a:tbl>
          </a:graphicData>
        </a:graphic>
      </p:graphicFrame>
    </p:spTree>
    <p:extLst>
      <p:ext uri="{BB962C8B-B14F-4D97-AF65-F5344CB8AC3E}">
        <p14:creationId xmlns:p14="http://schemas.microsoft.com/office/powerpoint/2010/main" val="37935864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p:cNvSpPr>
            <a:spLocks noGrp="1"/>
          </p:cNvSpPr>
          <p:nvPr>
            <p:ph type="title"/>
          </p:nvPr>
        </p:nvSpPr>
        <p:spPr>
          <a:xfrm>
            <a:off x="685800" y="365126"/>
            <a:ext cx="10210800" cy="798046"/>
          </a:xfrm>
        </p:spPr>
        <p:txBody>
          <a:bodyPr/>
          <a:lstStyle/>
          <a:p>
            <a:r>
              <a:rPr lang="fr-CA"/>
              <a:t>Déclaration</a:t>
            </a:r>
          </a:p>
        </p:txBody>
      </p:sp>
      <p:sp>
        <p:nvSpPr>
          <p:cNvPr id="5" name="TextBox 4"/>
          <p:cNvSpPr txBox="1"/>
          <p:nvPr/>
        </p:nvSpPr>
        <p:spPr>
          <a:xfrm>
            <a:off x="685800" y="1443997"/>
            <a:ext cx="11168323" cy="4349909"/>
          </a:xfrm>
          <a:prstGeom prst="rect">
            <a:avLst/>
          </a:prstGeom>
          <a:noFill/>
        </p:spPr>
        <p:txBody>
          <a:bodyPr wrap="square" rtlCol="0">
            <a:spAutoFit/>
          </a:bodyPr>
          <a:lstStyle/>
          <a:p>
            <a:pPr>
              <a:spcAft>
                <a:spcPts val="1600"/>
              </a:spcAft>
            </a:pPr>
            <a:r>
              <a:rPr lang="fr-CA" sz="1100">
                <a:solidFill>
                  <a:schemeClr val="tx1">
                    <a:lumMod val="50000"/>
                    <a:lumOff val="50000"/>
                  </a:schemeClr>
                </a:solidFill>
              </a:rPr>
              <a:t>Le présent document a été préparé par RBC Gestion mondiale d’actifs Inc. (RBC GMA) aux fins d’information uniquement à la date indiquée. Il n’a pas pour objet de fournir des conseils juridiques, comptables, fiscaux, financiers, liés aux placements ou autres, et ne doit pas servir de fondement à de tels conseils. RBC GMA prend des mesures raisonnables pour fournir de l’information à jour, exacte et fiable, et croit qu’elle l’est lorsqu’elle est communiquée. Les rendements antérieurs ne sont pas garants des résultats futurs. Les taux d’intérêt, les conditions des marchés, la réglementation fiscale et d’autres facteurs de placement changent rapidement, ce qui peut avoir une incidence importante sur l’analyse qui se trouve dans le présent document. Nous vous invitons à consulter votre conseiller avant de prendre des décisions fondées sur les renseignements qui figurent dans le présent document. Les informations obtenues de tiers sont jugées fiables, mais RBC GMA et ses sociétés affiliées n’assument aucune responsabilité à l’égard de tout dommage, perte, erreur ou omission. RBC GMA se réserve le droit, à tout moment et sans préavis, de corriger ou de modifier les renseignements, ou de cesser de les publier.</a:t>
            </a:r>
          </a:p>
          <a:p>
            <a:pPr>
              <a:spcAft>
                <a:spcPts val="1600"/>
              </a:spcAft>
            </a:pPr>
            <a:r>
              <a:rPr lang="fr-CA" sz="1100">
                <a:solidFill>
                  <a:schemeClr val="tx1">
                    <a:lumMod val="50000"/>
                    <a:lumOff val="50000"/>
                  </a:schemeClr>
                </a:solidFill>
              </a:rPr>
              <a:t>Veuillez consulter votre conseiller et lire le prospectus ou le document Aperçu du fonds avant d’investir.  Les placements en fonds communs peuvent entraîner des commissions, des frais de suivi et des frais et dépenses de gestion.  Les fonds communs de placement ne sont pas garantis, leur valeur fluctue souvent et leurs rendements antérieurs ne sont pas nécessairement répétés. Les taux de rendement indiqués représentent l’historique des rendements globaux annuels composés pour les périodes indiquées et tiennent compte de l’évolution de la valeur des parts ainsi que du réinvestissement de toutes les distributions, mais non des frais de vente, de rachat et de distribution ou des frais facultatifs ni de l’impôt sur le revenu exigible du porteur de parts, qui auraient diminué le rendement. Les fonds RBC, les fonds BlueBay et les fonds PH&amp;N sont offerts par RBC Gestion mondiale d’actifs Inc. et distribués par des courtiers autorisés au Canada. </a:t>
            </a:r>
          </a:p>
          <a:p>
            <a:pPr>
              <a:spcAft>
                <a:spcPts val="1600"/>
              </a:spcAft>
            </a:pPr>
            <a:r>
              <a:rPr lang="fr-CA" sz="1100">
                <a:solidFill>
                  <a:schemeClr val="tx1">
                    <a:lumMod val="50000"/>
                    <a:lumOff val="50000"/>
                  </a:schemeClr>
                </a:solidFill>
              </a:rPr>
              <a:t>Le présent document peut contenir des énoncés prospectifs à propos d’un fonds ou de facteurs économiques généraux qui ne garantissent nullement le rendement futur. Les déclarations prospectives comportent des risques et des incertitudes, de sorte qu’il se peut que les prédictions, les prévisions, les projections et les autres déclarations prospectives ne se réalisent pas. Nous vous recommandons de ne pas vous fier indûment à ces déclarations, puisqu’un certain nombre de facteurs importants pourraient faire en sorte que les événements ou les résultats réels diffèrent considérablement de ceux qui sont mentionnés, explicitement ou implicitement, dans les déclarations prospectives. Les opinions exprimées dans les déclarations prospectives peuvent être modifiées sans préavis ; elles sont présentées de bonne foi, mais n’impliquent aucune responsabilité légale.</a:t>
            </a:r>
          </a:p>
          <a:p>
            <a:pPr>
              <a:spcAft>
                <a:spcPts val="1600"/>
              </a:spcAft>
            </a:pPr>
            <a:r>
              <a:rPr lang="fr-CA" sz="1100">
                <a:solidFill>
                  <a:schemeClr val="tx1">
                    <a:lumMod val="50000"/>
                    <a:lumOff val="50000"/>
                  </a:schemeClr>
                </a:solidFill>
              </a:rPr>
              <a:t>Date de publication : </a:t>
            </a:r>
            <a:fld id="{FBC9DC19-E73E-4369-8F01-ADEBBCAB7982}" type="datetime4">
              <a:rPr lang="en-US" sz="1100" smtClean="0">
                <a:solidFill>
                  <a:schemeClr val="tx1">
                    <a:lumMod val="50000"/>
                    <a:lumOff val="50000"/>
                  </a:schemeClr>
                </a:solidFill>
              </a:rPr>
              <a:t>November 18, 2024</a:t>
            </a:fld>
            <a:endParaRPr lang="en-US" sz="1100">
              <a:solidFill>
                <a:schemeClr val="tx1">
                  <a:lumMod val="50000"/>
                  <a:lumOff val="50000"/>
                </a:schemeClr>
              </a:solidFill>
            </a:endParaRPr>
          </a:p>
          <a:p>
            <a:pPr>
              <a:spcAft>
                <a:spcPts val="1600"/>
              </a:spcAft>
            </a:pPr>
            <a:r>
              <a:rPr lang="fr-CA" sz="1100">
                <a:solidFill>
                  <a:schemeClr val="tx1">
                    <a:lumMod val="50000"/>
                    <a:lumOff val="50000"/>
                  </a:schemeClr>
                </a:solidFill>
                <a:ea typeface="Gulim" pitchFamily="34" charset="-127"/>
              </a:rPr>
              <a:t>® / </a:t>
            </a:r>
            <a:r>
              <a:rPr lang="fr-CA" sz="1100" baseline="30000">
                <a:solidFill>
                  <a:schemeClr val="tx1">
                    <a:lumMod val="50000"/>
                    <a:lumOff val="50000"/>
                  </a:schemeClr>
                </a:solidFill>
                <a:ea typeface="Gulim" pitchFamily="34" charset="-127"/>
              </a:rPr>
              <a:t>MC</a:t>
            </a:r>
            <a:r>
              <a:rPr lang="fr-CA" sz="1100">
                <a:solidFill>
                  <a:schemeClr val="tx1">
                    <a:lumMod val="50000"/>
                    <a:lumOff val="50000"/>
                  </a:schemeClr>
                </a:solidFill>
                <a:ea typeface="Gulim" pitchFamily="34" charset="-127"/>
              </a:rPr>
              <a:t> Marque(s) de commerce de Banque Royale du Canada, utilisée(s) sous licence.  © RBC Gestion mondiale d’actifs Inc., 2024.</a:t>
            </a:r>
          </a:p>
          <a:p>
            <a:pPr>
              <a:spcAft>
                <a:spcPts val="1600"/>
              </a:spcAft>
            </a:pPr>
            <a:endParaRPr lang="en-US" sz="1200" dirty="0">
              <a:latin typeface="Arial Narrow" panose="020B0606020202030204" pitchFamily="34" charset="0"/>
            </a:endParaRPr>
          </a:p>
        </p:txBody>
      </p:sp>
    </p:spTree>
    <p:extLst>
      <p:ext uri="{BB962C8B-B14F-4D97-AF65-F5344CB8AC3E}">
        <p14:creationId xmlns:p14="http://schemas.microsoft.com/office/powerpoint/2010/main" val="21747419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BC 2018 HNW for all new slides">
  <a:themeElements>
    <a:clrScheme name="RBC HNW Colors">
      <a:dk1>
        <a:srgbClr val="000000"/>
      </a:dk1>
      <a:lt1>
        <a:srgbClr val="FFFFFF"/>
      </a:lt1>
      <a:dk2>
        <a:srgbClr val="003168"/>
      </a:dk2>
      <a:lt2>
        <a:srgbClr val="E7EEF1"/>
      </a:lt2>
      <a:accent1>
        <a:srgbClr val="003168"/>
      </a:accent1>
      <a:accent2>
        <a:srgbClr val="FFC72C"/>
      </a:accent2>
      <a:accent3>
        <a:srgbClr val="87AFBF"/>
      </a:accent3>
      <a:accent4>
        <a:srgbClr val="C1B5A5"/>
      </a:accent4>
      <a:accent5>
        <a:srgbClr val="FCA311"/>
      </a:accent5>
      <a:accent6>
        <a:srgbClr val="B8A970"/>
      </a:accent6>
      <a:hlink>
        <a:srgbClr val="87AFBF"/>
      </a:hlink>
      <a:folHlink>
        <a:srgbClr val="B3B6B8"/>
      </a:folHlink>
    </a:clrScheme>
    <a:fontScheme name="RBC Arial Fonts">
      <a:majorFont>
        <a:latin typeface="Arial"/>
        <a:ea typeface=""/>
        <a:cs typeface=""/>
      </a:majorFont>
      <a:minorFont>
        <a:latin typeface="Arial"/>
        <a:ea typeface=""/>
        <a:cs typeface=""/>
      </a:minorFont>
    </a:fontScheme>
    <a:fmtScheme name="Flat">
      <a:fillStyleLst>
        <a:solidFill>
          <a:schemeClr val="phClr"/>
        </a:solidFill>
        <a:solidFill>
          <a:schemeClr val="phClr">
            <a:tint val="50000"/>
          </a:schemeClr>
        </a:solidFill>
        <a:solidFill>
          <a:schemeClr val="phClr">
            <a:shade val="50000"/>
          </a:schemeClr>
        </a:solidFill>
      </a:fillStyleLst>
      <a:lnStyleLst>
        <a:ln w="0" cap="flat" cmpd="sng" algn="ctr">
          <a:noFill/>
        </a:ln>
        <a:ln w="6350" cap="flat" cmpd="sng" algn="ctr">
          <a:solidFill>
            <a:schemeClr val="phClr"/>
          </a:solidFill>
          <a:prstDash val="solid"/>
        </a:ln>
        <a:ln w="0" cap="flat" cmpd="sng" algn="ctr">
          <a:noFill/>
        </a:ln>
      </a:lnStyleLst>
      <a:effectStyleLst>
        <a:effectStyle>
          <a:effectLst>
            <a:blur/>
          </a:effectLst>
        </a:effectStyle>
        <a:effectStyle>
          <a:effectLst>
            <a:fillOverlay blend="screen">
              <a:solidFill>
                <a:schemeClr val="phClr"/>
              </a:solidFill>
            </a:fillOverlay>
          </a:effectLst>
        </a:effectStyle>
        <a:effectStyle>
          <a:effectLst>
            <a:blur/>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Warm Yellow">
      <a:srgbClr val="FFC72C"/>
    </a:custClr>
    <a:custClr name="Tundra">
      <a:srgbClr val="87AFBF"/>
    </a:custClr>
    <a:custClr name="Light Gray">
      <a:srgbClr val="C1B5A5"/>
    </a:custClr>
    <a:custClr name="Sunburst">
      <a:srgbClr val="FCA311"/>
    </a:custClr>
    <a:custClr name="Beige">
      <a:srgbClr val="B8A970"/>
    </a:custClr>
    <a:custClr name="Carbon">
      <a:srgbClr val="899299"/>
    </a:custClr>
    <a:custClr name="Apple">
      <a:srgbClr val="AABA0A"/>
    </a:custClr>
    <a:custClr name="Seaweed">
      <a:srgbClr val="588886"/>
    </a:custClr>
    <a:custClr name="Sky">
      <a:srgbClr val="51B5E0"/>
    </a:custClr>
    <a:custClr name="Slate Gray">
      <a:srgbClr val="6F6E6F"/>
    </a:custClr>
    <a:custClr name="Warm Yellow 70%">
      <a:srgbClr val="FFD86B"/>
    </a:custClr>
    <a:custClr name="Tundra 70%">
      <a:srgbClr val="ABC7D2"/>
    </a:custClr>
    <a:custClr name="Light Gray 70%">
      <a:srgbClr val="D4CBC0"/>
    </a:custClr>
    <a:custClr name="Sunburst 70%">
      <a:srgbClr val="FDBF58"/>
    </a:custClr>
    <a:custClr name="Beige 70%">
      <a:srgbClr val="CDC39B"/>
    </a:custClr>
    <a:custClr name="Carbon 70%">
      <a:srgbClr val="ACB3B8"/>
    </a:custClr>
    <a:custClr name="Apple 70%">
      <a:srgbClr val="C4CF54"/>
    </a:custClr>
    <a:custClr name="Seaweed 70%">
      <a:srgbClr val="8AACAA"/>
    </a:custClr>
    <a:custClr name="Sky 70%">
      <a:srgbClr val="85CBE9"/>
    </a:custClr>
    <a:custClr name="Slate Gray 70%">
      <a:srgbClr val="9A9A9A"/>
    </a:custClr>
    <a:custClr name="Warm Yellow 55%">
      <a:srgbClr val="FFE08B"/>
    </a:custClr>
    <a:custClr name="Tundra 55%">
      <a:srgbClr val="BDD3DC"/>
    </a:custClr>
    <a:custClr name="Light Gray 55%">
      <a:srgbClr val="DDD6CE"/>
    </a:custClr>
    <a:custClr name="Sunburst 55%">
      <a:srgbClr val="FDCC7C"/>
    </a:custClr>
    <a:custClr name="Beige 55%">
      <a:srgbClr val="D8D0B0"/>
    </a:custClr>
    <a:custClr name="Carbon 55%">
      <a:srgbClr val="BEC3C7"/>
    </a:custClr>
    <a:custClr name="Apple 55%">
      <a:srgbClr val="D0D978"/>
    </a:custClr>
    <a:custClr name="Seaweed 55%">
      <a:srgbClr val="A3BEBC"/>
    </a:custClr>
    <a:custClr name="Sky 55%">
      <a:srgbClr val="9FD6EE"/>
    </a:custClr>
    <a:custClr name="Slate Gray 55%">
      <a:srgbClr val="B0AFB0"/>
    </a:custClr>
    <a:custClr name="Warm Yellow 40%">
      <a:srgbClr val="FFE9AB"/>
    </a:custClr>
    <a:custClr name="Tundra 40%">
      <a:srgbClr val="CFDFE5"/>
    </a:custClr>
    <a:custClr name="Light Gray 40%">
      <a:srgbClr val="E6E1DB"/>
    </a:custClr>
    <a:custClr name="Sunburst 40%">
      <a:srgbClr val="FEDAA0"/>
    </a:custClr>
    <a:custClr name="Beige 40%">
      <a:srgbClr val="E3DDC6"/>
    </a:custClr>
    <a:custClr name="Carbon 40%">
      <a:srgbClr val="D0D3D6"/>
    </a:custClr>
    <a:custClr name="Apple 40%">
      <a:srgbClr val="DDE39D"/>
    </a:custClr>
    <a:custClr name="Seaweed 40%">
      <a:srgbClr val="BCCFCF"/>
    </a:custClr>
    <a:custClr name="Sky 40%">
      <a:srgbClr val="B9E1F3"/>
    </a:custClr>
    <a:custClr name="Slate Gray 40%">
      <a:srgbClr val="C5C5C5"/>
    </a:custClr>
    <a:custClr name="Warm Yellow 25%">
      <a:srgbClr val="FFF1CA"/>
    </a:custClr>
    <a:custClr name="Tundra 25%">
      <a:srgbClr val="E1EBEF"/>
    </a:custClr>
    <a:custClr name="Light Gray 25%">
      <a:srgbClr val="F0EDE9"/>
    </a:custClr>
    <a:custClr name="Sunburst 25%">
      <a:srgbClr val="FEE8C4"/>
    </a:custClr>
    <a:custClr name="Beige 25%">
      <a:srgbClr val="EDEADB"/>
    </a:custClr>
    <a:custClr name="Carbon 25%">
      <a:srgbClr val="E2E4E6"/>
    </a:custClr>
    <a:custClr name="Apple 25%">
      <a:srgbClr val="EAEEC2"/>
    </a:custClr>
    <a:custClr name="Seaweed 25%">
      <a:srgbClr val="D5E1E1"/>
    </a:custClr>
    <a:custClr name="Sky 25%">
      <a:srgbClr val="D4EDF7"/>
    </a:custClr>
    <a:custClr name="Slate Gray 25%">
      <a:srgbClr val="DBDBDB"/>
    </a:custClr>
  </a:custClrLst>
  <a:extLst>
    <a:ext uri="{05A4C25C-085E-4340-85A3-A5531E510DB2}">
      <thm15:themeFamily xmlns:thm15="http://schemas.microsoft.com/office/thememl/2012/main" name="Presentation2" id="{6FB7C5E5-8E86-4120-A4EA-D70742AD383B}" vid="{64CA6845-0C7B-4034-8169-1DFB290E0B4F}"/>
    </a:ext>
  </a:extLst>
</a:theme>
</file>

<file path=ppt/theme/theme2.xml><?xml version="1.0" encoding="utf-8"?>
<a:theme xmlns:a="http://schemas.openxmlformats.org/drawingml/2006/main" name="Office Theme">
  <a:themeElements>
    <a:clrScheme name="RBC HNW Colors">
      <a:dk1>
        <a:srgbClr val="000000"/>
      </a:dk1>
      <a:lt1>
        <a:srgbClr val="FFFFFF"/>
      </a:lt1>
      <a:dk2>
        <a:srgbClr val="003168"/>
      </a:dk2>
      <a:lt2>
        <a:srgbClr val="E7EEF1"/>
      </a:lt2>
      <a:accent1>
        <a:srgbClr val="003168"/>
      </a:accent1>
      <a:accent2>
        <a:srgbClr val="FFC72C"/>
      </a:accent2>
      <a:accent3>
        <a:srgbClr val="87AFBF"/>
      </a:accent3>
      <a:accent4>
        <a:srgbClr val="C1B5A5"/>
      </a:accent4>
      <a:accent5>
        <a:srgbClr val="FCA311"/>
      </a:accent5>
      <a:accent6>
        <a:srgbClr val="B8A970"/>
      </a:accent6>
      <a:hlink>
        <a:srgbClr val="87AFBF"/>
      </a:hlink>
      <a:folHlink>
        <a:srgbClr val="B3B6B8"/>
      </a:folHlink>
    </a:clrScheme>
    <a:fontScheme name="RBC Arial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RBC HNW Colors">
      <a:dk1>
        <a:srgbClr val="000000"/>
      </a:dk1>
      <a:lt1>
        <a:srgbClr val="FFFFFF"/>
      </a:lt1>
      <a:dk2>
        <a:srgbClr val="003168"/>
      </a:dk2>
      <a:lt2>
        <a:srgbClr val="E7EEF1"/>
      </a:lt2>
      <a:accent1>
        <a:srgbClr val="003168"/>
      </a:accent1>
      <a:accent2>
        <a:srgbClr val="FFC72C"/>
      </a:accent2>
      <a:accent3>
        <a:srgbClr val="87AFBF"/>
      </a:accent3>
      <a:accent4>
        <a:srgbClr val="C1B5A5"/>
      </a:accent4>
      <a:accent5>
        <a:srgbClr val="FCA311"/>
      </a:accent5>
      <a:accent6>
        <a:srgbClr val="B8A970"/>
      </a:accent6>
      <a:hlink>
        <a:srgbClr val="87AFBF"/>
      </a:hlink>
      <a:folHlink>
        <a:srgbClr val="B3B6B8"/>
      </a:folHlink>
    </a:clrScheme>
    <a:fontScheme name="RBC Arial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RBC">
    <a:dk1>
      <a:sysClr val="windowText" lastClr="000000"/>
    </a:dk1>
    <a:lt1>
      <a:sysClr val="window" lastClr="FFFFFF"/>
    </a:lt1>
    <a:dk2>
      <a:srgbClr val="003168"/>
    </a:dk2>
    <a:lt2>
      <a:srgbClr val="E7EEF1"/>
    </a:lt2>
    <a:accent1>
      <a:srgbClr val="003168"/>
    </a:accent1>
    <a:accent2>
      <a:srgbClr val="FFC72C"/>
    </a:accent2>
    <a:accent3>
      <a:srgbClr val="87AFBF"/>
    </a:accent3>
    <a:accent4>
      <a:srgbClr val="C1B5A5"/>
    </a:accent4>
    <a:accent5>
      <a:srgbClr val="FCA311"/>
    </a:accent5>
    <a:accent6>
      <a:srgbClr val="B8A970"/>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430AA51E6E1943AA29EFC036E90477" ma:contentTypeVersion="0" ma:contentTypeDescription="Create a new document." ma:contentTypeScope="" ma:versionID="00d968d530310350fbccbbeb1cb196f5">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0.xml><?xml version="1.0" encoding="utf-8"?>
<AllExternalAdhocVariableMapping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VariableListDefinition name="AD_HOC" displayName="AD_HOC" id="0f1f5332-308e-4da3-86d3-0022537a6da5" isdomainofvalue="False" dataSourceId="1d622497-c0b0-4426-a39d-21930879c358"/>
</file>

<file path=customXml/item5.xml><?xml version="1.0" encoding="utf-8"?>
<VariableList UniqueId="0f1f5332-308e-4da3-86d3-0022537a6da5" Name="AD_HOC" ContentType="XML" MajorVersion="0" MinorVersion="1" isLocalCopy="False" IsBaseObject="False" DataSourceId="1d622497-c0b0-4426-a39d-21930879c358" DataSourceMajorVersion="0" DataSourceMinorVersion="1"/>
</file>

<file path=customXml/item6.xml><?xml version="1.0" encoding="utf-8"?>
<VariableListDefinition name="Computed" displayName="Computed" id="ed4e1ffb-f906-422d-8226-a52b07bc2c73" isdomainofvalue="False" dataSourceId="70434130-7ca2-476e-b0f8-bddf584a0541"/>
</file>

<file path=customXml/item7.xml><?xml version="1.0" encoding="utf-8"?>
<VariableList UniqueId="ed4e1ffb-f906-422d-8226-a52b07bc2c73" Name="Computed" ContentType="XML" MajorVersion="0" MinorVersion="1" isLocalCopy="False" IsBaseObject="False" DataSourceId="70434130-7ca2-476e-b0f8-bddf584a0541" DataSourceMajorVersion="0" DataSourceMinorVersion="1"/>
</file>

<file path=customXml/item8.xml><?xml version="1.0" encoding="utf-8"?>
<VariableListDefinition name="System" displayName="System" id="7be418b2-d6cf-47b4-a2e7-f50f5d700d54" isdomainofvalue="False" dataSourceId="aa901c1c-d85b-4332-ae93-5c4330c56f82"/>
</file>

<file path=customXml/item9.xml><?xml version="1.0" encoding="utf-8"?>
<VariableList UniqueId="7be418b2-d6cf-47b4-a2e7-f50f5d700d54" Name="System" ContentType="XML" MajorVersion="0" MinorVersion="1" isLocalCopy="False" IsBaseObject="False" DataSourceId="aa901c1c-d85b-4332-ae93-5c4330c56f82" DataSourceMajorVersion="0" DataSourceMinorVersion="1"/>
</file>

<file path=customXml/itemProps1.xml><?xml version="1.0" encoding="utf-8"?>
<ds:datastoreItem xmlns:ds="http://schemas.openxmlformats.org/officeDocument/2006/customXml" ds:itemID="{F4A5FD9E-AD80-4E16-A3FB-BC6478159C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10.xml><?xml version="1.0" encoding="utf-8"?>
<ds:datastoreItem xmlns:ds="http://schemas.openxmlformats.org/officeDocument/2006/customXml" ds:itemID="{E4767560-BC37-49C6-9619-07EC456B5EC5}">
  <ds:schemaRefs/>
</ds:datastoreItem>
</file>

<file path=customXml/itemProps2.xml><?xml version="1.0" encoding="utf-8"?>
<ds:datastoreItem xmlns:ds="http://schemas.openxmlformats.org/officeDocument/2006/customXml" ds:itemID="{451A6812-D3A8-4284-BB49-A83D1DEADAD4}">
  <ds:schemaRefs>
    <ds:schemaRef ds:uri="http://schemas.openxmlformats.org/package/2006/metadata/core-properties"/>
    <ds:schemaRef ds:uri="http://schemas.microsoft.com/office/2006/metadata/properties"/>
    <ds:schemaRef ds:uri="http://schemas.microsoft.com/office/2006/documentManagement/types"/>
    <ds:schemaRef ds:uri="http://purl.org/dc/terms/"/>
    <ds:schemaRef ds:uri="http://purl.org/dc/dcmitype/"/>
    <ds:schemaRef ds:uri="http://schemas.microsoft.com/office/infopath/2007/PartnerControls"/>
    <ds:schemaRef ds:uri="http://www.w3.org/XML/1998/namespace"/>
    <ds:schemaRef ds:uri="http://purl.org/dc/elements/1.1/"/>
  </ds:schemaRefs>
</ds:datastoreItem>
</file>

<file path=customXml/itemProps3.xml><?xml version="1.0" encoding="utf-8"?>
<ds:datastoreItem xmlns:ds="http://schemas.openxmlformats.org/officeDocument/2006/customXml" ds:itemID="{5FC52444-330D-46E5-BB05-F0EDD3D5A944}">
  <ds:schemaRefs>
    <ds:schemaRef ds:uri="http://schemas.microsoft.com/sharepoint/v3/contenttype/forms"/>
  </ds:schemaRefs>
</ds:datastoreItem>
</file>

<file path=customXml/itemProps4.xml><?xml version="1.0" encoding="utf-8"?>
<ds:datastoreItem xmlns:ds="http://schemas.openxmlformats.org/officeDocument/2006/customXml" ds:itemID="{1D735083-F3FA-430A-B18F-4509A8CEF716}">
  <ds:schemaRefs/>
</ds:datastoreItem>
</file>

<file path=customXml/itemProps5.xml><?xml version="1.0" encoding="utf-8"?>
<ds:datastoreItem xmlns:ds="http://schemas.openxmlformats.org/officeDocument/2006/customXml" ds:itemID="{56EFDFED-E095-4A91-AB1D-B47C08ADF78F}">
  <ds:schemaRefs/>
</ds:datastoreItem>
</file>

<file path=customXml/itemProps6.xml><?xml version="1.0" encoding="utf-8"?>
<ds:datastoreItem xmlns:ds="http://schemas.openxmlformats.org/officeDocument/2006/customXml" ds:itemID="{0314FC07-B96D-4A32-AB9F-46E01E7C9430}">
  <ds:schemaRefs/>
</ds:datastoreItem>
</file>

<file path=customXml/itemProps7.xml><?xml version="1.0" encoding="utf-8"?>
<ds:datastoreItem xmlns:ds="http://schemas.openxmlformats.org/officeDocument/2006/customXml" ds:itemID="{F63A118F-9948-4B25-A077-2F7A86BF0E04}">
  <ds:schemaRefs/>
</ds:datastoreItem>
</file>

<file path=customXml/itemProps8.xml><?xml version="1.0" encoding="utf-8"?>
<ds:datastoreItem xmlns:ds="http://schemas.openxmlformats.org/officeDocument/2006/customXml" ds:itemID="{F89AB78B-B3E7-4100-943A-C73FBE6B114A}">
  <ds:schemaRefs/>
</ds:datastoreItem>
</file>

<file path=customXml/itemProps9.xml><?xml version="1.0" encoding="utf-8"?>
<ds:datastoreItem xmlns:ds="http://schemas.openxmlformats.org/officeDocument/2006/customXml" ds:itemID="{7A0D0416-DEF7-4F65-A098-653A3C5A4C8A}">
  <ds:schemaRefs/>
</ds:datastoreItem>
</file>

<file path=docProps/app.xml><?xml version="1.0" encoding="utf-8"?>
<Properties xmlns="http://schemas.openxmlformats.org/officeDocument/2006/extended-properties" xmlns:vt="http://schemas.openxmlformats.org/officeDocument/2006/docPropsVTypes">
  <Template>PowerPoint Template 16x9</Template>
  <TotalTime>27458</TotalTime>
  <Words>2229</Words>
  <Application>Microsoft Office PowerPoint</Application>
  <PresentationFormat>Widescreen</PresentationFormat>
  <Paragraphs>196</Paragraphs>
  <Slides>8</Slides>
  <Notes>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5" baseType="lpstr">
      <vt:lpstr>Gulim</vt:lpstr>
      <vt:lpstr>Arial</vt:lpstr>
      <vt:lpstr>Arial (Body)</vt:lpstr>
      <vt:lpstr>Arial Narrow</vt:lpstr>
      <vt:lpstr>Calibri</vt:lpstr>
      <vt:lpstr>RBC 2018 HNW for all new slides</vt:lpstr>
      <vt:lpstr>think-cell Slide</vt:lpstr>
      <vt:lpstr>Graphiques intéressants</vt:lpstr>
      <vt:lpstr>La Banque du Canada a continué de réduire les taux</vt:lpstr>
      <vt:lpstr>Le marché boursier canadien a surpassé le marché immobilier</vt:lpstr>
      <vt:lpstr>Les actifs canadiens ont repris de la vigueur depuis la première baisse de taux de la BdC</vt:lpstr>
      <vt:lpstr>Lorsque les taux diminuent à l’échelle mondiale, les rendements des liquidités font habituellement de même</vt:lpstr>
      <vt:lpstr>Un portefeuille diversifié peut offrir protection et occasions</vt:lpstr>
      <vt:lpstr>Les actions américaines suivent une tendance haussière semblable</vt:lpstr>
      <vt:lpstr>Déclaration</vt:lpstr>
    </vt:vector>
  </TitlesOfParts>
  <Company>RB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owler, Alex</dc:creator>
  <dc:description>Version 1.00
Job 1544
Oct. 16, 2018</dc:description>
  <cp:lastModifiedBy>Wong, Jennifer W</cp:lastModifiedBy>
  <cp:revision>509</cp:revision>
  <cp:lastPrinted>2018-10-16T15:43:38Z</cp:lastPrinted>
  <dcterms:created xsi:type="dcterms:W3CDTF">2022-04-04T15:59:11Z</dcterms:created>
  <dcterms:modified xsi:type="dcterms:W3CDTF">2024-11-18T13:50: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430AA51E6E1943AA29EFC036E90477</vt:lpwstr>
  </property>
  <property fmtid="{D5CDD505-2E9C-101B-9397-08002B2CF9AE}" pid="3" name="Classification">
    <vt:lpwstr>TT_Public</vt:lpwstr>
  </property>
</Properties>
</file>